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66" r:id="rId5"/>
    <p:sldMasterId id="2147483838" r:id="rId6"/>
    <p:sldMasterId id="2147483696" r:id="rId7"/>
  </p:sldMasterIdLst>
  <p:notesMasterIdLst>
    <p:notesMasterId r:id="rId43"/>
  </p:notesMasterIdLst>
  <p:handoutMasterIdLst>
    <p:handoutMasterId r:id="rId44"/>
  </p:handoutMasterIdLst>
  <p:sldIdLst>
    <p:sldId id="256" r:id="rId8"/>
    <p:sldId id="303" r:id="rId9"/>
    <p:sldId id="299" r:id="rId10"/>
    <p:sldId id="300" r:id="rId11"/>
    <p:sldId id="331" r:id="rId12"/>
    <p:sldId id="302" r:id="rId13"/>
    <p:sldId id="301" r:id="rId14"/>
    <p:sldId id="304" r:id="rId15"/>
    <p:sldId id="296" r:id="rId16"/>
    <p:sldId id="298" r:id="rId17"/>
    <p:sldId id="297" r:id="rId18"/>
    <p:sldId id="305" r:id="rId19"/>
    <p:sldId id="347" r:id="rId20"/>
    <p:sldId id="358" r:id="rId21"/>
    <p:sldId id="359" r:id="rId22"/>
    <p:sldId id="360" r:id="rId23"/>
    <p:sldId id="361" r:id="rId24"/>
    <p:sldId id="364" r:id="rId25"/>
    <p:sldId id="365" r:id="rId26"/>
    <p:sldId id="366" r:id="rId27"/>
    <p:sldId id="367" r:id="rId28"/>
    <p:sldId id="324" r:id="rId29"/>
    <p:sldId id="368" r:id="rId30"/>
    <p:sldId id="318" r:id="rId31"/>
    <p:sldId id="317" r:id="rId32"/>
    <p:sldId id="315" r:id="rId33"/>
    <p:sldId id="295" r:id="rId34"/>
    <p:sldId id="264" r:id="rId35"/>
    <p:sldId id="265" r:id="rId36"/>
    <p:sldId id="306" r:id="rId37"/>
    <p:sldId id="340" r:id="rId38"/>
    <p:sldId id="370" r:id="rId39"/>
    <p:sldId id="312" r:id="rId40"/>
    <p:sldId id="313" r:id="rId41"/>
    <p:sldId id="369" r:id="rId42"/>
  </p:sldIdLst>
  <p:sldSz cx="12192000" cy="6858000"/>
  <p:notesSz cx="6858000" cy="9144000"/>
  <p:custDataLst>
    <p:tags r:id="rId4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FF17"/>
    <a:srgbClr val="0F999C"/>
    <a:srgbClr val="6D64CC"/>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23A7D2-9CDE-497B-86EA-6FE3EC1065D3}" v="562" dt="2020-09-23T11:51:55.213"/>
    <p1510:client id="{60E0253D-486A-4AC0-8645-C78A00D44CC5}" v="5" dt="2020-09-23T09:08:49.452"/>
    <p1510:client id="{62C35110-DD55-4BAB-B974-9753A7478779}" v="260" dt="2020-09-23T10:00:45.231"/>
    <p1510:client id="{8D96B46D-0F0D-43EE-BC4E-F2E7505B3218}" v="290" dt="2020-09-24T08:45:44.789"/>
    <p1510:client id="{8FDD5686-B3D9-4EAD-8B4E-A6EA83ECCAA7}" v="857" dt="2020-09-23T08:52:51.746"/>
    <p1510:client id="{C5DB5609-12D5-4FDE-8A1A-988A1B103670}" v="980" dt="2020-09-23T16:44:15.793"/>
    <p1510:client id="{E5566D78-D18F-49BD-AE4E-4DD74C1ACFDF}" v="66" dt="2020-09-23T10:20:40.916"/>
    <p1510:client id="{FAF9B7A6-8E06-49B7-9D2C-0FE3A6FEE4E5}" v="898" dt="2020-09-23T10:17:17.0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907" autoAdjust="0"/>
  </p:normalViewPr>
  <p:slideViewPr>
    <p:cSldViewPr snapToGrid="0">
      <p:cViewPr varScale="1">
        <p:scale>
          <a:sx n="101" d="100"/>
          <a:sy n="101" d="100"/>
        </p:scale>
        <p:origin x="954" y="108"/>
      </p:cViewPr>
      <p:guideLst>
        <p:guide orient="horz" pos="2341"/>
        <p:guide pos="36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1.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presProps" Target="presProps.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QUIDT, Gauthier" userId="S::gauthier.dequidt@capgemini.com::60721c13-73eb-487e-af7c-ef37b1d9e21e" providerId="AD" clId="Web-{13137A45-B2B5-921F-0A14-9B7C77C44B6E}"/>
    <pc:docChg chg="modSld">
      <pc:chgData name="DEQUIDT, Gauthier" userId="S::gauthier.dequidt@capgemini.com::60721c13-73eb-487e-af7c-ef37b1d9e21e" providerId="AD" clId="Web-{13137A45-B2B5-921F-0A14-9B7C77C44B6E}" dt="2020-09-09T14:00:40.262" v="2"/>
      <pc:docMkLst>
        <pc:docMk/>
      </pc:docMkLst>
      <pc:sldChg chg="delSp">
        <pc:chgData name="DEQUIDT, Gauthier" userId="S::gauthier.dequidt@capgemini.com::60721c13-73eb-487e-af7c-ef37b1d9e21e" providerId="AD" clId="Web-{13137A45-B2B5-921F-0A14-9B7C77C44B6E}" dt="2020-09-09T13:56:39.996" v="1"/>
        <pc:sldMkLst>
          <pc:docMk/>
          <pc:sldMk cId="0" sldId="272"/>
        </pc:sldMkLst>
        <pc:spChg chg="del">
          <ac:chgData name="DEQUIDT, Gauthier" userId="S::gauthier.dequidt@capgemini.com::60721c13-73eb-487e-af7c-ef37b1d9e21e" providerId="AD" clId="Web-{13137A45-B2B5-921F-0A14-9B7C77C44B6E}" dt="2020-09-09T13:56:39.996" v="1"/>
          <ac:spMkLst>
            <pc:docMk/>
            <pc:sldMk cId="0" sldId="272"/>
            <ac:spMk id="246" creationId="{00000000-0000-0000-0000-000000000000}"/>
          </ac:spMkLst>
        </pc:spChg>
      </pc:sldChg>
      <pc:sldChg chg="delSp">
        <pc:chgData name="DEQUIDT, Gauthier" userId="S::gauthier.dequidt@capgemini.com::60721c13-73eb-487e-af7c-ef37b1d9e21e" providerId="AD" clId="Web-{13137A45-B2B5-921F-0A14-9B7C77C44B6E}" dt="2020-09-09T14:00:40.262" v="2"/>
        <pc:sldMkLst>
          <pc:docMk/>
          <pc:sldMk cId="0" sldId="311"/>
        </pc:sldMkLst>
        <pc:spChg chg="del">
          <ac:chgData name="DEQUIDT, Gauthier" userId="S::gauthier.dequidt@capgemini.com::60721c13-73eb-487e-af7c-ef37b1d9e21e" providerId="AD" clId="Web-{13137A45-B2B5-921F-0A14-9B7C77C44B6E}" dt="2020-09-09T14:00:40.262" v="2"/>
          <ac:spMkLst>
            <pc:docMk/>
            <pc:sldMk cId="0" sldId="311"/>
            <ac:spMk id="194" creationId="{00000000-0000-0000-0000-000000000000}"/>
          </ac:spMkLst>
        </pc:spChg>
      </pc:sldChg>
      <pc:sldChg chg="delSp">
        <pc:chgData name="DEQUIDT, Gauthier" userId="S::gauthier.dequidt@capgemini.com::60721c13-73eb-487e-af7c-ef37b1d9e21e" providerId="AD" clId="Web-{13137A45-B2B5-921F-0A14-9B7C77C44B6E}" dt="2020-09-09T13:51:01.418" v="0"/>
        <pc:sldMkLst>
          <pc:docMk/>
          <pc:sldMk cId="0" sldId="312"/>
        </pc:sldMkLst>
        <pc:spChg chg="del">
          <ac:chgData name="DEQUIDT, Gauthier" userId="S::gauthier.dequidt@capgemini.com::60721c13-73eb-487e-af7c-ef37b1d9e21e" providerId="AD" clId="Web-{13137A45-B2B5-921F-0A14-9B7C77C44B6E}" dt="2020-09-09T13:51:01.418" v="0"/>
          <ac:spMkLst>
            <pc:docMk/>
            <pc:sldMk cId="0" sldId="312"/>
            <ac:spMk id="207" creationId="{00000000-0000-0000-0000-000000000000}"/>
          </ac:spMkLst>
        </pc:spChg>
      </pc:sldChg>
    </pc:docChg>
  </pc:docChgLst>
  <pc:docChgLst>
    <pc:chgData name="DEQUIDT, Gauthier" userId="S::gauthier.dequidt@capgemini.com::60721c13-73eb-487e-af7c-ef37b1d9e21e" providerId="AD" clId="Web-{88D6C8C7-9B5F-5927-68B4-E3A9A45C4732}"/>
    <pc:docChg chg="addSld delSld modSld">
      <pc:chgData name="DEQUIDT, Gauthier" userId="S::gauthier.dequidt@capgemini.com::60721c13-73eb-487e-af7c-ef37b1d9e21e" providerId="AD" clId="Web-{88D6C8C7-9B5F-5927-68B4-E3A9A45C4732}" dt="2020-09-09T13:49:10.268" v="204"/>
      <pc:docMkLst>
        <pc:docMk/>
      </pc:docMkLst>
      <pc:sldChg chg="modSp">
        <pc:chgData name="DEQUIDT, Gauthier" userId="S::gauthier.dequidt@capgemini.com::60721c13-73eb-487e-af7c-ef37b1d9e21e" providerId="AD" clId="Web-{88D6C8C7-9B5F-5927-68B4-E3A9A45C4732}" dt="2020-09-09T13:38:54.374" v="194" actId="20577"/>
        <pc:sldMkLst>
          <pc:docMk/>
          <pc:sldMk cId="3942090603" sldId="295"/>
        </pc:sldMkLst>
        <pc:spChg chg="mod">
          <ac:chgData name="DEQUIDT, Gauthier" userId="S::gauthier.dequidt@capgemini.com::60721c13-73eb-487e-af7c-ef37b1d9e21e" providerId="AD" clId="Web-{88D6C8C7-9B5F-5927-68B4-E3A9A45C4732}" dt="2020-09-09T13:38:54.374" v="194" actId="20577"/>
          <ac:spMkLst>
            <pc:docMk/>
            <pc:sldMk cId="3942090603" sldId="295"/>
            <ac:spMk id="4" creationId="{00000000-0000-0000-0000-000000000000}"/>
          </ac:spMkLst>
        </pc:spChg>
      </pc:sldChg>
      <pc:sldChg chg="modSp">
        <pc:chgData name="DEQUIDT, Gauthier" userId="S::gauthier.dequidt@capgemini.com::60721c13-73eb-487e-af7c-ef37b1d9e21e" providerId="AD" clId="Web-{88D6C8C7-9B5F-5927-68B4-E3A9A45C4732}" dt="2020-09-09T12:38:08.240" v="39" actId="20577"/>
        <pc:sldMkLst>
          <pc:docMk/>
          <pc:sldMk cId="764601814" sldId="296"/>
        </pc:sldMkLst>
        <pc:spChg chg="mod">
          <ac:chgData name="DEQUIDT, Gauthier" userId="S::gauthier.dequidt@capgemini.com::60721c13-73eb-487e-af7c-ef37b1d9e21e" providerId="AD" clId="Web-{88D6C8C7-9B5F-5927-68B4-E3A9A45C4732}" dt="2020-09-09T12:38:08.240" v="39" actId="20577"/>
          <ac:spMkLst>
            <pc:docMk/>
            <pc:sldMk cId="764601814" sldId="296"/>
            <ac:spMk id="5" creationId="{00000000-0000-0000-0000-000000000000}"/>
          </ac:spMkLst>
        </pc:spChg>
      </pc:sldChg>
      <pc:sldChg chg="modSp">
        <pc:chgData name="DEQUIDT, Gauthier" userId="S::gauthier.dequidt@capgemini.com::60721c13-73eb-487e-af7c-ef37b1d9e21e" providerId="AD" clId="Web-{88D6C8C7-9B5F-5927-68B4-E3A9A45C4732}" dt="2020-09-09T12:51:10.809" v="135" actId="20577"/>
        <pc:sldMkLst>
          <pc:docMk/>
          <pc:sldMk cId="2007445869" sldId="297"/>
        </pc:sldMkLst>
        <pc:spChg chg="mod">
          <ac:chgData name="DEQUIDT, Gauthier" userId="S::gauthier.dequidt@capgemini.com::60721c13-73eb-487e-af7c-ef37b1d9e21e" providerId="AD" clId="Web-{88D6C8C7-9B5F-5927-68B4-E3A9A45C4732}" dt="2020-09-09T12:51:10.809" v="135" actId="20577"/>
          <ac:spMkLst>
            <pc:docMk/>
            <pc:sldMk cId="2007445869" sldId="297"/>
            <ac:spMk id="4" creationId="{00000000-0000-0000-0000-000000000000}"/>
          </ac:spMkLst>
        </pc:spChg>
      </pc:sldChg>
      <pc:sldChg chg="modSp">
        <pc:chgData name="DEQUIDT, Gauthier" userId="S::gauthier.dequidt@capgemini.com::60721c13-73eb-487e-af7c-ef37b1d9e21e" providerId="AD" clId="Web-{88D6C8C7-9B5F-5927-68B4-E3A9A45C4732}" dt="2020-09-09T12:48:02.245" v="111" actId="20577"/>
        <pc:sldMkLst>
          <pc:docMk/>
          <pc:sldMk cId="3241355600" sldId="298"/>
        </pc:sldMkLst>
        <pc:spChg chg="mod">
          <ac:chgData name="DEQUIDT, Gauthier" userId="S::gauthier.dequidt@capgemini.com::60721c13-73eb-487e-af7c-ef37b1d9e21e" providerId="AD" clId="Web-{88D6C8C7-9B5F-5927-68B4-E3A9A45C4732}" dt="2020-09-09T12:48:02.245" v="111" actId="20577"/>
          <ac:spMkLst>
            <pc:docMk/>
            <pc:sldMk cId="3241355600" sldId="298"/>
            <ac:spMk id="5" creationId="{00000000-0000-0000-0000-000000000000}"/>
          </ac:spMkLst>
        </pc:spChg>
      </pc:sldChg>
      <pc:sldChg chg="modSp">
        <pc:chgData name="DEQUIDT, Gauthier" userId="S::gauthier.dequidt@capgemini.com::60721c13-73eb-487e-af7c-ef37b1d9e21e" providerId="AD" clId="Web-{88D6C8C7-9B5F-5927-68B4-E3A9A45C4732}" dt="2020-09-09T12:57:58.718" v="160" actId="20577"/>
        <pc:sldMkLst>
          <pc:docMk/>
          <pc:sldMk cId="3598614120" sldId="305"/>
        </pc:sldMkLst>
        <pc:spChg chg="mod">
          <ac:chgData name="DEQUIDT, Gauthier" userId="S::gauthier.dequidt@capgemini.com::60721c13-73eb-487e-af7c-ef37b1d9e21e" providerId="AD" clId="Web-{88D6C8C7-9B5F-5927-68B4-E3A9A45C4732}" dt="2020-09-09T12:57:58.718" v="160" actId="20577"/>
          <ac:spMkLst>
            <pc:docMk/>
            <pc:sldMk cId="3598614120" sldId="305"/>
            <ac:spMk id="4" creationId="{00000000-0000-0000-0000-000000000000}"/>
          </ac:spMkLst>
        </pc:spChg>
        <pc:spChg chg="mod">
          <ac:chgData name="DEQUIDT, Gauthier" userId="S::gauthier.dequidt@capgemini.com::60721c13-73eb-487e-af7c-ef37b1d9e21e" providerId="AD" clId="Web-{88D6C8C7-9B5F-5927-68B4-E3A9A45C4732}" dt="2020-09-09T12:55:11.061" v="153" actId="20577"/>
          <ac:spMkLst>
            <pc:docMk/>
            <pc:sldMk cId="3598614120" sldId="305"/>
            <ac:spMk id="5" creationId="{00000000-0000-0000-0000-000000000000}"/>
          </ac:spMkLst>
        </pc:spChg>
        <pc:spChg chg="mod">
          <ac:chgData name="DEQUIDT, Gauthier" userId="S::gauthier.dequidt@capgemini.com::60721c13-73eb-487e-af7c-ef37b1d9e21e" providerId="AD" clId="Web-{88D6C8C7-9B5F-5927-68B4-E3A9A45C4732}" dt="2020-09-09T12:57:39.874" v="159" actId="20577"/>
          <ac:spMkLst>
            <pc:docMk/>
            <pc:sldMk cId="3598614120" sldId="305"/>
            <ac:spMk id="8" creationId="{00000000-0000-0000-0000-000000000000}"/>
          </ac:spMkLst>
        </pc:spChg>
      </pc:sldChg>
      <pc:sldChg chg="modSp">
        <pc:chgData name="DEQUIDT, Gauthier" userId="S::gauthier.dequidt@capgemini.com::60721c13-73eb-487e-af7c-ef37b1d9e21e" providerId="AD" clId="Web-{88D6C8C7-9B5F-5927-68B4-E3A9A45C4732}" dt="2020-09-09T13:44:14.462" v="197" actId="20577"/>
        <pc:sldMkLst>
          <pc:docMk/>
          <pc:sldMk cId="2716846013" sldId="306"/>
        </pc:sldMkLst>
        <pc:spChg chg="mod">
          <ac:chgData name="DEQUIDT, Gauthier" userId="S::gauthier.dequidt@capgemini.com::60721c13-73eb-487e-af7c-ef37b1d9e21e" providerId="AD" clId="Web-{88D6C8C7-9B5F-5927-68B4-E3A9A45C4732}" dt="2020-09-09T13:44:14.462" v="197" actId="20577"/>
          <ac:spMkLst>
            <pc:docMk/>
            <pc:sldMk cId="2716846013" sldId="306"/>
            <ac:spMk id="3" creationId="{D656B652-C7E9-42C5-AEEE-72EF1D0EE89B}"/>
          </ac:spMkLst>
        </pc:spChg>
      </pc:sldChg>
      <pc:sldChg chg="delSp modSp">
        <pc:chgData name="DEQUIDT, Gauthier" userId="S::gauthier.dequidt@capgemini.com::60721c13-73eb-487e-af7c-ef37b1d9e21e" providerId="AD" clId="Web-{88D6C8C7-9B5F-5927-68B4-E3A9A45C4732}" dt="2020-09-09T13:49:10.268" v="204"/>
        <pc:sldMkLst>
          <pc:docMk/>
          <pc:sldMk cId="0" sldId="308"/>
        </pc:sldMkLst>
        <pc:spChg chg="mod">
          <ac:chgData name="DEQUIDT, Gauthier" userId="S::gauthier.dequidt@capgemini.com::60721c13-73eb-487e-af7c-ef37b1d9e21e" providerId="AD" clId="Web-{88D6C8C7-9B5F-5927-68B4-E3A9A45C4732}" dt="2020-09-09T13:44:45.228" v="199" actId="20577"/>
          <ac:spMkLst>
            <pc:docMk/>
            <pc:sldMk cId="0" sldId="308"/>
            <ac:spMk id="225" creationId="{00000000-0000-0000-0000-000000000000}"/>
          </ac:spMkLst>
        </pc:spChg>
        <pc:spChg chg="mod">
          <ac:chgData name="DEQUIDT, Gauthier" userId="S::gauthier.dequidt@capgemini.com::60721c13-73eb-487e-af7c-ef37b1d9e21e" providerId="AD" clId="Web-{88D6C8C7-9B5F-5927-68B4-E3A9A45C4732}" dt="2020-09-09T13:44:51.588" v="200" actId="20577"/>
          <ac:spMkLst>
            <pc:docMk/>
            <pc:sldMk cId="0" sldId="308"/>
            <ac:spMk id="226" creationId="{00000000-0000-0000-0000-000000000000}"/>
          </ac:spMkLst>
        </pc:spChg>
        <pc:spChg chg="mod">
          <ac:chgData name="DEQUIDT, Gauthier" userId="S::gauthier.dequidt@capgemini.com::60721c13-73eb-487e-af7c-ef37b1d9e21e" providerId="AD" clId="Web-{88D6C8C7-9B5F-5927-68B4-E3A9A45C4732}" dt="2020-09-09T13:44:55.744" v="201" actId="20577"/>
          <ac:spMkLst>
            <pc:docMk/>
            <pc:sldMk cId="0" sldId="308"/>
            <ac:spMk id="227" creationId="{00000000-0000-0000-0000-000000000000}"/>
          </ac:spMkLst>
        </pc:spChg>
        <pc:spChg chg="del">
          <ac:chgData name="DEQUIDT, Gauthier" userId="S::gauthier.dequidt@capgemini.com::60721c13-73eb-487e-af7c-ef37b1d9e21e" providerId="AD" clId="Web-{88D6C8C7-9B5F-5927-68B4-E3A9A45C4732}" dt="2020-09-09T13:49:10.268" v="204"/>
          <ac:spMkLst>
            <pc:docMk/>
            <pc:sldMk cId="0" sldId="308"/>
            <ac:spMk id="230" creationId="{00000000-0000-0000-0000-000000000000}"/>
          </ac:spMkLst>
        </pc:spChg>
      </pc:sldChg>
      <pc:sldChg chg="delSp modSp">
        <pc:chgData name="DEQUIDT, Gauthier" userId="S::gauthier.dequidt@capgemini.com::60721c13-73eb-487e-af7c-ef37b1d9e21e" providerId="AD" clId="Web-{88D6C8C7-9B5F-5927-68B4-E3A9A45C4732}" dt="2020-09-09T13:49:04.517" v="203"/>
        <pc:sldMkLst>
          <pc:docMk/>
          <pc:sldMk cId="0" sldId="310"/>
        </pc:sldMkLst>
        <pc:spChg chg="mod">
          <ac:chgData name="DEQUIDT, Gauthier" userId="S::gauthier.dequidt@capgemini.com::60721c13-73eb-487e-af7c-ef37b1d9e21e" providerId="AD" clId="Web-{88D6C8C7-9B5F-5927-68B4-E3A9A45C4732}" dt="2020-09-09T13:48:58.705" v="202" actId="20577"/>
          <ac:spMkLst>
            <pc:docMk/>
            <pc:sldMk cId="0" sldId="310"/>
            <ac:spMk id="184" creationId="{00000000-0000-0000-0000-000000000000}"/>
          </ac:spMkLst>
        </pc:spChg>
        <pc:spChg chg="del">
          <ac:chgData name="DEQUIDT, Gauthier" userId="S::gauthier.dequidt@capgemini.com::60721c13-73eb-487e-af7c-ef37b1d9e21e" providerId="AD" clId="Web-{88D6C8C7-9B5F-5927-68B4-E3A9A45C4732}" dt="2020-09-09T13:49:04.517" v="203"/>
          <ac:spMkLst>
            <pc:docMk/>
            <pc:sldMk cId="0" sldId="310"/>
            <ac:spMk id="186" creationId="{00000000-0000-0000-0000-000000000000}"/>
          </ac:spMkLst>
        </pc:spChg>
      </pc:sldChg>
      <pc:sldChg chg="modSp">
        <pc:chgData name="DEQUIDT, Gauthier" userId="S::gauthier.dequidt@capgemini.com::60721c13-73eb-487e-af7c-ef37b1d9e21e" providerId="AD" clId="Web-{88D6C8C7-9B5F-5927-68B4-E3A9A45C4732}" dt="2020-09-09T13:37:41.763" v="188" actId="20577"/>
        <pc:sldMkLst>
          <pc:docMk/>
          <pc:sldMk cId="793218679" sldId="315"/>
        </pc:sldMkLst>
        <pc:spChg chg="mod">
          <ac:chgData name="DEQUIDT, Gauthier" userId="S::gauthier.dequidt@capgemini.com::60721c13-73eb-487e-af7c-ef37b1d9e21e" providerId="AD" clId="Web-{88D6C8C7-9B5F-5927-68B4-E3A9A45C4732}" dt="2020-09-09T13:37:41.763" v="188" actId="20577"/>
          <ac:spMkLst>
            <pc:docMk/>
            <pc:sldMk cId="793218679" sldId="315"/>
            <ac:spMk id="3" creationId="{52F6A2F5-8B1D-4FB1-B760-82A1ADFFD8B9}"/>
          </ac:spMkLst>
        </pc:spChg>
      </pc:sldChg>
      <pc:sldChg chg="del">
        <pc:chgData name="DEQUIDT, Gauthier" userId="S::gauthier.dequidt@capgemini.com::60721c13-73eb-487e-af7c-ef37b1d9e21e" providerId="AD" clId="Web-{88D6C8C7-9B5F-5927-68B4-E3A9A45C4732}" dt="2020-09-09T13:34:59.305" v="173"/>
        <pc:sldMkLst>
          <pc:docMk/>
          <pc:sldMk cId="4085779005" sldId="316"/>
        </pc:sldMkLst>
      </pc:sldChg>
      <pc:sldChg chg="modSp">
        <pc:chgData name="DEQUIDT, Gauthier" userId="S::gauthier.dequidt@capgemini.com::60721c13-73eb-487e-af7c-ef37b1d9e21e" providerId="AD" clId="Web-{88D6C8C7-9B5F-5927-68B4-E3A9A45C4732}" dt="2020-09-09T13:32:59.192" v="172" actId="20577"/>
        <pc:sldMkLst>
          <pc:docMk/>
          <pc:sldMk cId="2430344171" sldId="317"/>
        </pc:sldMkLst>
        <pc:spChg chg="mod">
          <ac:chgData name="DEQUIDT, Gauthier" userId="S::gauthier.dequidt@capgemini.com::60721c13-73eb-487e-af7c-ef37b1d9e21e" providerId="AD" clId="Web-{88D6C8C7-9B5F-5927-68B4-E3A9A45C4732}" dt="2020-09-09T13:32:59.192" v="172" actId="20577"/>
          <ac:spMkLst>
            <pc:docMk/>
            <pc:sldMk cId="2430344171" sldId="317"/>
            <ac:spMk id="2" creationId="{7882C5B4-FFB5-4AC8-BC05-31C7CA642F9F}"/>
          </ac:spMkLst>
        </pc:spChg>
      </pc:sldChg>
      <pc:sldChg chg="modSp">
        <pc:chgData name="DEQUIDT, Gauthier" userId="S::gauthier.dequidt@capgemini.com::60721c13-73eb-487e-af7c-ef37b1d9e21e" providerId="AD" clId="Web-{88D6C8C7-9B5F-5927-68B4-E3A9A45C4732}" dt="2020-09-09T13:25:30.226" v="170" actId="20577"/>
        <pc:sldMkLst>
          <pc:docMk/>
          <pc:sldMk cId="3289766764" sldId="318"/>
        </pc:sldMkLst>
        <pc:spChg chg="mod">
          <ac:chgData name="DEQUIDT, Gauthier" userId="S::gauthier.dequidt@capgemini.com::60721c13-73eb-487e-af7c-ef37b1d9e21e" providerId="AD" clId="Web-{88D6C8C7-9B5F-5927-68B4-E3A9A45C4732}" dt="2020-09-09T13:25:30.226" v="170" actId="20577"/>
          <ac:spMkLst>
            <pc:docMk/>
            <pc:sldMk cId="3289766764" sldId="318"/>
            <ac:spMk id="129" creationId="{00000000-0000-0000-0000-000000000000}"/>
          </ac:spMkLst>
        </pc:spChg>
      </pc:sldChg>
      <pc:sldChg chg="del">
        <pc:chgData name="DEQUIDT, Gauthier" userId="S::gauthier.dequidt@capgemini.com::60721c13-73eb-487e-af7c-ef37b1d9e21e" providerId="AD" clId="Web-{88D6C8C7-9B5F-5927-68B4-E3A9A45C4732}" dt="2020-09-09T13:25:08.397" v="167"/>
        <pc:sldMkLst>
          <pc:docMk/>
          <pc:sldMk cId="3523231711" sldId="319"/>
        </pc:sldMkLst>
      </pc:sldChg>
      <pc:sldChg chg="modSp">
        <pc:chgData name="DEQUIDT, Gauthier" userId="S::gauthier.dequidt@capgemini.com::60721c13-73eb-487e-af7c-ef37b1d9e21e" providerId="AD" clId="Web-{88D6C8C7-9B5F-5927-68B4-E3A9A45C4732}" dt="2020-09-09T13:02:47.767" v="166" actId="20577"/>
        <pc:sldMkLst>
          <pc:docMk/>
          <pc:sldMk cId="2597213475" sldId="326"/>
        </pc:sldMkLst>
        <pc:spChg chg="mod">
          <ac:chgData name="DEQUIDT, Gauthier" userId="S::gauthier.dequidt@capgemini.com::60721c13-73eb-487e-af7c-ef37b1d9e21e" providerId="AD" clId="Web-{88D6C8C7-9B5F-5927-68B4-E3A9A45C4732}" dt="2020-09-09T13:02:47.767" v="166" actId="20577"/>
          <ac:spMkLst>
            <pc:docMk/>
            <pc:sldMk cId="2597213475" sldId="326"/>
            <ac:spMk id="70" creationId="{00000000-0000-0000-0000-000000000000}"/>
          </ac:spMkLst>
        </pc:spChg>
        <pc:spChg chg="mod">
          <ac:chgData name="DEQUIDT, Gauthier" userId="S::gauthier.dequidt@capgemini.com::60721c13-73eb-487e-af7c-ef37b1d9e21e" providerId="AD" clId="Web-{88D6C8C7-9B5F-5927-68B4-E3A9A45C4732}" dt="2020-09-09T13:02:31.205" v="164" actId="20577"/>
          <ac:spMkLst>
            <pc:docMk/>
            <pc:sldMk cId="2597213475" sldId="326"/>
            <ac:spMk id="71" creationId="{00000000-0000-0000-0000-000000000000}"/>
          </ac:spMkLst>
        </pc:spChg>
      </pc:sldChg>
      <pc:sldChg chg="modSp">
        <pc:chgData name="DEQUIDT, Gauthier" userId="S::gauthier.dequidt@capgemini.com::60721c13-73eb-487e-af7c-ef37b1d9e21e" providerId="AD" clId="Web-{88D6C8C7-9B5F-5927-68B4-E3A9A45C4732}" dt="2020-09-09T13:01:28.173" v="161" actId="20577"/>
        <pc:sldMkLst>
          <pc:docMk/>
          <pc:sldMk cId="2029459997" sldId="327"/>
        </pc:sldMkLst>
        <pc:spChg chg="mod">
          <ac:chgData name="DEQUIDT, Gauthier" userId="S::gauthier.dequidt@capgemini.com::60721c13-73eb-487e-af7c-ef37b1d9e21e" providerId="AD" clId="Web-{88D6C8C7-9B5F-5927-68B4-E3A9A45C4732}" dt="2020-09-09T13:01:28.173" v="161" actId="20577"/>
          <ac:spMkLst>
            <pc:docMk/>
            <pc:sldMk cId="2029459997" sldId="327"/>
            <ac:spMk id="61" creationId="{00000000-0000-0000-0000-000000000000}"/>
          </ac:spMkLst>
        </pc:spChg>
      </pc:sldChg>
      <pc:sldChg chg="modSp new">
        <pc:chgData name="DEQUIDT, Gauthier" userId="S::gauthier.dequidt@capgemini.com::60721c13-73eb-487e-af7c-ef37b1d9e21e" providerId="AD" clId="Web-{88D6C8C7-9B5F-5927-68B4-E3A9A45C4732}" dt="2020-09-09T13:38:37.843" v="191" actId="20577"/>
        <pc:sldMkLst>
          <pc:docMk/>
          <pc:sldMk cId="3525475379" sldId="329"/>
        </pc:sldMkLst>
        <pc:spChg chg="mod">
          <ac:chgData name="DEQUIDT, Gauthier" userId="S::gauthier.dequidt@capgemini.com::60721c13-73eb-487e-af7c-ef37b1d9e21e" providerId="AD" clId="Web-{88D6C8C7-9B5F-5927-68B4-E3A9A45C4732}" dt="2020-09-09T13:38:37.843" v="191" actId="20577"/>
          <ac:spMkLst>
            <pc:docMk/>
            <pc:sldMk cId="3525475379" sldId="329"/>
            <ac:spMk id="3" creationId="{88A3436A-48BA-4541-831F-3D5C840CFC99}"/>
          </ac:spMkLst>
        </pc:spChg>
      </pc:sldChg>
    </pc:docChg>
  </pc:docChgLst>
  <pc:docChgLst>
    <pc:chgData name="DEQUIDT, Gauthier" userId="S::gauthier.dequidt@capgemini.com::60721c13-73eb-487e-af7c-ef37b1d9e21e" providerId="AD" clId="Web-{8B556D05-D9E6-4359-ABA2-2D9F3BFDC89E}"/>
    <pc:docChg chg="addSld delSld modSld">
      <pc:chgData name="DEQUIDT, Gauthier" userId="S::gauthier.dequidt@capgemini.com::60721c13-73eb-487e-af7c-ef37b1d9e21e" providerId="AD" clId="Web-{8B556D05-D9E6-4359-ABA2-2D9F3BFDC89E}" dt="2020-09-09T09:54:30.485" v="239" actId="20577"/>
      <pc:docMkLst>
        <pc:docMk/>
      </pc:docMkLst>
      <pc:sldChg chg="del">
        <pc:chgData name="DEQUIDT, Gauthier" userId="S::gauthier.dequidt@capgemini.com::60721c13-73eb-487e-af7c-ef37b1d9e21e" providerId="AD" clId="Web-{8B556D05-D9E6-4359-ABA2-2D9F3BFDC89E}" dt="2020-09-09T09:53:58.657" v="236"/>
        <pc:sldMkLst>
          <pc:docMk/>
          <pc:sldMk cId="0" sldId="258"/>
        </pc:sldMkLst>
      </pc:sldChg>
      <pc:sldChg chg="del">
        <pc:chgData name="DEQUIDT, Gauthier" userId="S::gauthier.dequidt@capgemini.com::60721c13-73eb-487e-af7c-ef37b1d9e21e" providerId="AD" clId="Web-{8B556D05-D9E6-4359-ABA2-2D9F3BFDC89E}" dt="2020-09-09T09:32:50.324" v="56"/>
        <pc:sldMkLst>
          <pc:docMk/>
          <pc:sldMk cId="0" sldId="259"/>
        </pc:sldMkLst>
      </pc:sldChg>
      <pc:sldChg chg="modSp">
        <pc:chgData name="DEQUIDT, Gauthier" userId="S::gauthier.dequidt@capgemini.com::60721c13-73eb-487e-af7c-ef37b1d9e21e" providerId="AD" clId="Web-{8B556D05-D9E6-4359-ABA2-2D9F3BFDC89E}" dt="2020-09-09T09:54:30.485" v="239" actId="20577"/>
        <pc:sldMkLst>
          <pc:docMk/>
          <pc:sldMk cId="0" sldId="264"/>
        </pc:sldMkLst>
        <pc:spChg chg="mod">
          <ac:chgData name="DEQUIDT, Gauthier" userId="S::gauthier.dequidt@capgemini.com::60721c13-73eb-487e-af7c-ef37b1d9e21e" providerId="AD" clId="Web-{8B556D05-D9E6-4359-ABA2-2D9F3BFDC89E}" dt="2020-09-09T09:54:30.485" v="239" actId="20577"/>
          <ac:spMkLst>
            <pc:docMk/>
            <pc:sldMk cId="0" sldId="264"/>
            <ac:spMk id="8" creationId="{98011BCB-97BE-468A-B821-56E53F15B9E0}"/>
          </ac:spMkLst>
        </pc:spChg>
      </pc:sldChg>
      <pc:sldChg chg="addSp delSp modSp">
        <pc:chgData name="DEQUIDT, Gauthier" userId="S::gauthier.dequidt@capgemini.com::60721c13-73eb-487e-af7c-ef37b1d9e21e" providerId="AD" clId="Web-{8B556D05-D9E6-4359-ABA2-2D9F3BFDC89E}" dt="2020-09-09T09:36:20.622" v="145" actId="20577"/>
        <pc:sldMkLst>
          <pc:docMk/>
          <pc:sldMk cId="764601814" sldId="296"/>
        </pc:sldMkLst>
        <pc:spChg chg="add del">
          <ac:chgData name="DEQUIDT, Gauthier" userId="S::gauthier.dequidt@capgemini.com::60721c13-73eb-487e-af7c-ef37b1d9e21e" providerId="AD" clId="Web-{8B556D05-D9E6-4359-ABA2-2D9F3BFDC89E}" dt="2020-09-09T09:33:31.121" v="67"/>
          <ac:spMkLst>
            <pc:docMk/>
            <pc:sldMk cId="764601814" sldId="296"/>
            <ac:spMk id="2" creationId="{B53768BD-0143-41ED-9683-307A7C793387}"/>
          </ac:spMkLst>
        </pc:spChg>
        <pc:spChg chg="mod">
          <ac:chgData name="DEQUIDT, Gauthier" userId="S::gauthier.dequidt@capgemini.com::60721c13-73eb-487e-af7c-ef37b1d9e21e" providerId="AD" clId="Web-{8B556D05-D9E6-4359-ABA2-2D9F3BFDC89E}" dt="2020-09-09T09:36:20.622" v="145" actId="20577"/>
          <ac:spMkLst>
            <pc:docMk/>
            <pc:sldMk cId="764601814" sldId="296"/>
            <ac:spMk id="5" creationId="{00000000-0000-0000-0000-000000000000}"/>
          </ac:spMkLst>
        </pc:spChg>
        <pc:picChg chg="add del mod">
          <ac:chgData name="DEQUIDT, Gauthier" userId="S::gauthier.dequidt@capgemini.com::60721c13-73eb-487e-af7c-ef37b1d9e21e" providerId="AD" clId="Web-{8B556D05-D9E6-4359-ABA2-2D9F3BFDC89E}" dt="2020-09-09T09:34:02.574" v="70"/>
          <ac:picMkLst>
            <pc:docMk/>
            <pc:sldMk cId="764601814" sldId="296"/>
            <ac:picMk id="7" creationId="{16825F74-6002-4B3C-9A92-5862B262CD9A}"/>
          </ac:picMkLst>
        </pc:picChg>
      </pc:sldChg>
      <pc:sldChg chg="modSp">
        <pc:chgData name="DEQUIDT, Gauthier" userId="S::gauthier.dequidt@capgemini.com::60721c13-73eb-487e-af7c-ef37b1d9e21e" providerId="AD" clId="Web-{8B556D05-D9E6-4359-ABA2-2D9F3BFDC89E}" dt="2020-09-09T09:42:33.420" v="198" actId="20577"/>
        <pc:sldMkLst>
          <pc:docMk/>
          <pc:sldMk cId="3241355600" sldId="298"/>
        </pc:sldMkLst>
        <pc:spChg chg="mod">
          <ac:chgData name="DEQUIDT, Gauthier" userId="S::gauthier.dequidt@capgemini.com::60721c13-73eb-487e-af7c-ef37b1d9e21e" providerId="AD" clId="Web-{8B556D05-D9E6-4359-ABA2-2D9F3BFDC89E}" dt="2020-09-09T09:42:33.420" v="198" actId="20577"/>
          <ac:spMkLst>
            <pc:docMk/>
            <pc:sldMk cId="3241355600" sldId="298"/>
            <ac:spMk id="8" creationId="{00000000-0000-0000-0000-000000000000}"/>
          </ac:spMkLst>
        </pc:spChg>
      </pc:sldChg>
      <pc:sldChg chg="modSp new">
        <pc:chgData name="DEQUIDT, Gauthier" userId="S::gauthier.dequidt@capgemini.com::60721c13-73eb-487e-af7c-ef37b1d9e21e" providerId="AD" clId="Web-{8B556D05-D9E6-4359-ABA2-2D9F3BFDC89E}" dt="2020-09-09T09:32:08.589" v="31" actId="20577"/>
        <pc:sldMkLst>
          <pc:docMk/>
          <pc:sldMk cId="666170251" sldId="303"/>
        </pc:sldMkLst>
        <pc:spChg chg="mod">
          <ac:chgData name="DEQUIDT, Gauthier" userId="S::gauthier.dequidt@capgemini.com::60721c13-73eb-487e-af7c-ef37b1d9e21e" providerId="AD" clId="Web-{8B556D05-D9E6-4359-ABA2-2D9F3BFDC89E}" dt="2020-09-09T09:32:08.589" v="31" actId="20577"/>
          <ac:spMkLst>
            <pc:docMk/>
            <pc:sldMk cId="666170251" sldId="303"/>
            <ac:spMk id="3" creationId="{94877C5B-2323-400F-95CE-6C47F22676F5}"/>
          </ac:spMkLst>
        </pc:spChg>
      </pc:sldChg>
      <pc:sldChg chg="addSp delSp modSp new">
        <pc:chgData name="DEQUIDT, Gauthier" userId="S::gauthier.dequidt@capgemini.com::60721c13-73eb-487e-af7c-ef37b1d9e21e" providerId="AD" clId="Web-{8B556D05-D9E6-4359-ABA2-2D9F3BFDC89E}" dt="2020-09-09T09:32:43.433" v="55" actId="20577"/>
        <pc:sldMkLst>
          <pc:docMk/>
          <pc:sldMk cId="1552507269" sldId="304"/>
        </pc:sldMkLst>
        <pc:spChg chg="mod">
          <ac:chgData name="DEQUIDT, Gauthier" userId="S::gauthier.dequidt@capgemini.com::60721c13-73eb-487e-af7c-ef37b1d9e21e" providerId="AD" clId="Web-{8B556D05-D9E6-4359-ABA2-2D9F3BFDC89E}" dt="2020-09-09T09:32:43.433" v="55" actId="20577"/>
          <ac:spMkLst>
            <pc:docMk/>
            <pc:sldMk cId="1552507269" sldId="304"/>
            <ac:spMk id="3" creationId="{C2FBE238-FD47-4E20-986A-5C368B15A0EE}"/>
          </ac:spMkLst>
        </pc:spChg>
        <pc:picChg chg="add del">
          <ac:chgData name="DEQUIDT, Gauthier" userId="S::gauthier.dequidt@capgemini.com::60721c13-73eb-487e-af7c-ef37b1d9e21e" providerId="AD" clId="Web-{8B556D05-D9E6-4359-ABA2-2D9F3BFDC89E}" dt="2020-09-09T09:32:29.636" v="34"/>
          <ac:picMkLst>
            <pc:docMk/>
            <pc:sldMk cId="1552507269" sldId="304"/>
            <ac:picMk id="5" creationId="{2760CE5A-BC2C-4D7C-91B0-886D532D605C}"/>
          </ac:picMkLst>
        </pc:picChg>
        <pc:picChg chg="add mod">
          <ac:chgData name="DEQUIDT, Gauthier" userId="S::gauthier.dequidt@capgemini.com::60721c13-73eb-487e-af7c-ef37b1d9e21e" providerId="AD" clId="Web-{8B556D05-D9E6-4359-ABA2-2D9F3BFDC89E}" dt="2020-09-09T09:32:35.652" v="36" actId="1076"/>
          <ac:picMkLst>
            <pc:docMk/>
            <pc:sldMk cId="1552507269" sldId="304"/>
            <ac:picMk id="7" creationId="{ECF2E223-0515-49B0-B24B-5F2F0D88884D}"/>
          </ac:picMkLst>
        </pc:picChg>
      </pc:sldChg>
      <pc:sldChg chg="addSp modSp add replId">
        <pc:chgData name="DEQUIDT, Gauthier" userId="S::gauthier.dequidt@capgemini.com::60721c13-73eb-487e-af7c-ef37b1d9e21e" providerId="AD" clId="Web-{8B556D05-D9E6-4359-ABA2-2D9F3BFDC89E}" dt="2020-09-09T09:45:26.718" v="235" actId="20577"/>
        <pc:sldMkLst>
          <pc:docMk/>
          <pc:sldMk cId="3598614120" sldId="305"/>
        </pc:sldMkLst>
        <pc:spChg chg="mod">
          <ac:chgData name="DEQUIDT, Gauthier" userId="S::gauthier.dequidt@capgemini.com::60721c13-73eb-487e-af7c-ef37b1d9e21e" providerId="AD" clId="Web-{8B556D05-D9E6-4359-ABA2-2D9F3BFDC89E}" dt="2020-09-09T09:45:26.718" v="235" actId="20577"/>
          <ac:spMkLst>
            <pc:docMk/>
            <pc:sldMk cId="3598614120" sldId="305"/>
            <ac:spMk id="4" creationId="{00000000-0000-0000-0000-000000000000}"/>
          </ac:spMkLst>
        </pc:spChg>
        <pc:spChg chg="mod">
          <ac:chgData name="DEQUIDT, Gauthier" userId="S::gauthier.dequidt@capgemini.com::60721c13-73eb-487e-af7c-ef37b1d9e21e" providerId="AD" clId="Web-{8B556D05-D9E6-4359-ABA2-2D9F3BFDC89E}" dt="2020-09-09T09:43:45.952" v="221" actId="20577"/>
          <ac:spMkLst>
            <pc:docMk/>
            <pc:sldMk cId="3598614120" sldId="305"/>
            <ac:spMk id="5" creationId="{00000000-0000-0000-0000-000000000000}"/>
          </ac:spMkLst>
        </pc:spChg>
        <pc:spChg chg="mod">
          <ac:chgData name="DEQUIDT, Gauthier" userId="S::gauthier.dequidt@capgemini.com::60721c13-73eb-487e-af7c-ef37b1d9e21e" providerId="AD" clId="Web-{8B556D05-D9E6-4359-ABA2-2D9F3BFDC89E}" dt="2020-09-09T09:45:16.733" v="224" actId="20577"/>
          <ac:spMkLst>
            <pc:docMk/>
            <pc:sldMk cId="3598614120" sldId="305"/>
            <ac:spMk id="8" creationId="{00000000-0000-0000-0000-000000000000}"/>
          </ac:spMkLst>
        </pc:spChg>
        <pc:picChg chg="add mod">
          <ac:chgData name="DEQUIDT, Gauthier" userId="S::gauthier.dequidt@capgemini.com::60721c13-73eb-487e-af7c-ef37b1d9e21e" providerId="AD" clId="Web-{8B556D05-D9E6-4359-ABA2-2D9F3BFDC89E}" dt="2020-09-09T09:43:14.061" v="212" actId="1076"/>
          <ac:picMkLst>
            <pc:docMk/>
            <pc:sldMk cId="3598614120" sldId="305"/>
            <ac:picMk id="2" creationId="{780E8F65-289C-4724-A449-49AED09CEE22}"/>
          </ac:picMkLst>
        </pc:picChg>
        <pc:picChg chg="add mod">
          <ac:chgData name="DEQUIDT, Gauthier" userId="S::gauthier.dequidt@capgemini.com::60721c13-73eb-487e-af7c-ef37b1d9e21e" providerId="AD" clId="Web-{8B556D05-D9E6-4359-ABA2-2D9F3BFDC89E}" dt="2020-09-09T09:43:26.983" v="216" actId="1076"/>
          <ac:picMkLst>
            <pc:docMk/>
            <pc:sldMk cId="3598614120" sldId="305"/>
            <ac:picMk id="3" creationId="{2249E8E0-50DA-4601-B641-BE9AF97DF611}"/>
          </ac:picMkLst>
        </pc:picChg>
        <pc:picChg chg="add mod">
          <ac:chgData name="DEQUIDT, Gauthier" userId="S::gauthier.dequidt@capgemini.com::60721c13-73eb-487e-af7c-ef37b1d9e21e" providerId="AD" clId="Web-{8B556D05-D9E6-4359-ABA2-2D9F3BFDC89E}" dt="2020-09-09T09:43:39.951" v="219" actId="1076"/>
          <ac:picMkLst>
            <pc:docMk/>
            <pc:sldMk cId="3598614120" sldId="305"/>
            <ac:picMk id="6" creationId="{B7CE8843-AE23-4EE1-AFA4-226C8C9F4714}"/>
          </ac:picMkLst>
        </pc:picChg>
        <pc:picChg chg="add mod">
          <ac:chgData name="DEQUIDT, Gauthier" userId="S::gauthier.dequidt@capgemini.com::60721c13-73eb-487e-af7c-ef37b1d9e21e" providerId="AD" clId="Web-{8B556D05-D9E6-4359-ABA2-2D9F3BFDC89E}" dt="2020-09-09T09:43:50.858" v="223" actId="1076"/>
          <ac:picMkLst>
            <pc:docMk/>
            <pc:sldMk cId="3598614120" sldId="305"/>
            <ac:picMk id="7" creationId="{9E50D237-72D8-4503-A845-224CA18406B3}"/>
          </ac:picMkLst>
        </pc:picChg>
      </pc:sldChg>
    </pc:docChg>
  </pc:docChgLst>
  <pc:docChgLst>
    <pc:chgData name="GALASSO, Damien" userId="S::damien.galasso@capgemini.com::7f12dbef-39e8-4f8c-9127-a94d7215092c" providerId="AD" clId="Web-{3580DE0E-8BEB-420B-F1E3-DF59E406B05C}"/>
    <pc:docChg chg="addSld delSld modSld sldOrd">
      <pc:chgData name="GALASSO, Damien" userId="S::damien.galasso@capgemini.com::7f12dbef-39e8-4f8c-9127-a94d7215092c" providerId="AD" clId="Web-{3580DE0E-8BEB-420B-F1E3-DF59E406B05C}" dt="2020-09-09T09:08:28.738" v="577" actId="1076"/>
      <pc:docMkLst>
        <pc:docMk/>
      </pc:docMkLst>
      <pc:sldChg chg="addSp delSp modSp new mod modClrScheme chgLayout">
        <pc:chgData name="GALASSO, Damien" userId="S::damien.galasso@capgemini.com::7f12dbef-39e8-4f8c-9127-a94d7215092c" providerId="AD" clId="Web-{3580DE0E-8BEB-420B-F1E3-DF59E406B05C}" dt="2020-09-09T08:22:36.446" v="190" actId="14100"/>
        <pc:sldMkLst>
          <pc:docMk/>
          <pc:sldMk cId="3781819871" sldId="299"/>
        </pc:sldMkLst>
        <pc:spChg chg="mod ord">
          <ac:chgData name="GALASSO, Damien" userId="S::damien.galasso@capgemini.com::7f12dbef-39e8-4f8c-9127-a94d7215092c" providerId="AD" clId="Web-{3580DE0E-8BEB-420B-F1E3-DF59E406B05C}" dt="2020-09-09T08:22:36.446" v="190" actId="14100"/>
          <ac:spMkLst>
            <pc:docMk/>
            <pc:sldMk cId="3781819871" sldId="299"/>
            <ac:spMk id="2" creationId="{75B04869-A1F6-4243-96ED-71BBC4057557}"/>
          </ac:spMkLst>
        </pc:spChg>
        <pc:spChg chg="del">
          <ac:chgData name="GALASSO, Damien" userId="S::damien.galasso@capgemini.com::7f12dbef-39e8-4f8c-9127-a94d7215092c" providerId="AD" clId="Web-{3580DE0E-8BEB-420B-F1E3-DF59E406B05C}" dt="2020-09-09T06:59:04.351" v="3"/>
          <ac:spMkLst>
            <pc:docMk/>
            <pc:sldMk cId="3781819871" sldId="299"/>
            <ac:spMk id="3" creationId="{D4DB772F-28BA-45E8-9101-0C624CAC28C6}"/>
          </ac:spMkLst>
        </pc:spChg>
        <pc:spChg chg="add mod ord">
          <ac:chgData name="GALASSO, Damien" userId="S::damien.galasso@capgemini.com::7f12dbef-39e8-4f8c-9127-a94d7215092c" providerId="AD" clId="Web-{3580DE0E-8BEB-420B-F1E3-DF59E406B05C}" dt="2020-09-09T08:22:25.727" v="188" actId="1076"/>
          <ac:spMkLst>
            <pc:docMk/>
            <pc:sldMk cId="3781819871" sldId="299"/>
            <ac:spMk id="4" creationId="{948D75D1-CADF-4F96-AEC3-ED8359CC3AE1}"/>
          </ac:spMkLst>
        </pc:spChg>
        <pc:spChg chg="add mod ord">
          <ac:chgData name="GALASSO, Damien" userId="S::damien.galasso@capgemini.com::7f12dbef-39e8-4f8c-9127-a94d7215092c" providerId="AD" clId="Web-{3580DE0E-8BEB-420B-F1E3-DF59E406B05C}" dt="2020-09-09T08:22:20.367" v="187" actId="1076"/>
          <ac:spMkLst>
            <pc:docMk/>
            <pc:sldMk cId="3781819871" sldId="299"/>
            <ac:spMk id="5" creationId="{E5ECB244-317E-47CC-B78F-5C707A48BC22}"/>
          </ac:spMkLst>
        </pc:spChg>
        <pc:spChg chg="add del mod ord">
          <ac:chgData name="GALASSO, Damien" userId="S::damien.galasso@capgemini.com::7f12dbef-39e8-4f8c-9127-a94d7215092c" providerId="AD" clId="Web-{3580DE0E-8BEB-420B-F1E3-DF59E406B05C}" dt="2020-09-09T07:04:55.841" v="45"/>
          <ac:spMkLst>
            <pc:docMk/>
            <pc:sldMk cId="3781819871" sldId="299"/>
            <ac:spMk id="6" creationId="{19508BBF-7A35-42A9-B2A3-5E37DDADB442}"/>
          </ac:spMkLst>
        </pc:spChg>
        <pc:spChg chg="add mod">
          <ac:chgData name="GALASSO, Damien" userId="S::damien.galasso@capgemini.com::7f12dbef-39e8-4f8c-9127-a94d7215092c" providerId="AD" clId="Web-{3580DE0E-8BEB-420B-F1E3-DF59E406B05C}" dt="2020-09-09T07:01:09.462" v="42" actId="20577"/>
          <ac:spMkLst>
            <pc:docMk/>
            <pc:sldMk cId="3781819871" sldId="299"/>
            <ac:spMk id="7" creationId="{58D696FB-136C-43A2-8858-0735590039FF}"/>
          </ac:spMkLst>
        </pc:spChg>
      </pc:sldChg>
      <pc:sldChg chg="addSp delSp modSp add replId">
        <pc:chgData name="GALASSO, Damien" userId="S::damien.galasso@capgemini.com::7f12dbef-39e8-4f8c-9127-a94d7215092c" providerId="AD" clId="Web-{3580DE0E-8BEB-420B-F1E3-DF59E406B05C}" dt="2020-09-09T08:47:03.624" v="559" actId="14100"/>
        <pc:sldMkLst>
          <pc:docMk/>
          <pc:sldMk cId="1097583363" sldId="300"/>
        </pc:sldMkLst>
        <pc:spChg chg="mod">
          <ac:chgData name="GALASSO, Damien" userId="S::damien.galasso@capgemini.com::7f12dbef-39e8-4f8c-9127-a94d7215092c" providerId="AD" clId="Web-{3580DE0E-8BEB-420B-F1E3-DF59E406B05C}" dt="2020-09-09T08:31:27.391" v="216" actId="20577"/>
          <ac:spMkLst>
            <pc:docMk/>
            <pc:sldMk cId="1097583363" sldId="300"/>
            <ac:spMk id="5" creationId="{00000000-0000-0000-0000-000000000000}"/>
          </ac:spMkLst>
        </pc:spChg>
        <pc:spChg chg="add mod">
          <ac:chgData name="GALASSO, Damien" userId="S::damien.galasso@capgemini.com::7f12dbef-39e8-4f8c-9127-a94d7215092c" providerId="AD" clId="Web-{3580DE0E-8BEB-420B-F1E3-DF59E406B05C}" dt="2020-09-09T08:43:24.012" v="418" actId="20577"/>
          <ac:spMkLst>
            <pc:docMk/>
            <pc:sldMk cId="1097583363" sldId="300"/>
            <ac:spMk id="28" creationId="{364FE169-4B1E-46B3-A60D-6D662FAF7E14}"/>
          </ac:spMkLst>
        </pc:spChg>
        <pc:spChg chg="add mod">
          <ac:chgData name="GALASSO, Damien" userId="S::damien.galasso@capgemini.com::7f12dbef-39e8-4f8c-9127-a94d7215092c" providerId="AD" clId="Web-{3580DE0E-8BEB-420B-F1E3-DF59E406B05C}" dt="2020-09-09T08:45:30.592" v="478" actId="1076"/>
          <ac:spMkLst>
            <pc:docMk/>
            <pc:sldMk cId="1097583363" sldId="300"/>
            <ac:spMk id="29" creationId="{8D3CCBEC-D62E-49FD-93C8-5C48C6EAF81E}"/>
          </ac:spMkLst>
        </pc:spChg>
        <pc:spChg chg="add mod">
          <ac:chgData name="GALASSO, Damien" userId="S::damien.galasso@capgemini.com::7f12dbef-39e8-4f8c-9127-a94d7215092c" providerId="AD" clId="Web-{3580DE0E-8BEB-420B-F1E3-DF59E406B05C}" dt="2020-09-09T08:45:14.935" v="475" actId="14100"/>
          <ac:spMkLst>
            <pc:docMk/>
            <pc:sldMk cId="1097583363" sldId="300"/>
            <ac:spMk id="30" creationId="{5F6B43DE-4A95-40C0-AF6F-5F6CC10D4C39}"/>
          </ac:spMkLst>
        </pc:spChg>
        <pc:spChg chg="add mod">
          <ac:chgData name="GALASSO, Damien" userId="S::damien.galasso@capgemini.com::7f12dbef-39e8-4f8c-9127-a94d7215092c" providerId="AD" clId="Web-{3580DE0E-8BEB-420B-F1E3-DF59E406B05C}" dt="2020-09-09T08:46:40.999" v="557" actId="20577"/>
          <ac:spMkLst>
            <pc:docMk/>
            <pc:sldMk cId="1097583363" sldId="300"/>
            <ac:spMk id="31" creationId="{A8141064-FFF6-4954-9999-2838AD9C0B00}"/>
          </ac:spMkLst>
        </pc:spChg>
        <pc:spChg chg="del topLvl">
          <ac:chgData name="GALASSO, Damien" userId="S::damien.galasso@capgemini.com::7f12dbef-39e8-4f8c-9127-a94d7215092c" providerId="AD" clId="Web-{3580DE0E-8BEB-420B-F1E3-DF59E406B05C}" dt="2020-09-09T08:30:42.172" v="195"/>
          <ac:spMkLst>
            <pc:docMk/>
            <pc:sldMk cId="1097583363" sldId="300"/>
            <ac:spMk id="51" creationId="{35B984F4-3610-4232-B295-D2FBF430930A}"/>
          </ac:spMkLst>
        </pc:spChg>
        <pc:spChg chg="del topLvl">
          <ac:chgData name="GALASSO, Damien" userId="S::damien.galasso@capgemini.com::7f12dbef-39e8-4f8c-9127-a94d7215092c" providerId="AD" clId="Web-{3580DE0E-8BEB-420B-F1E3-DF59E406B05C}" dt="2020-09-09T08:30:40.672" v="194"/>
          <ac:spMkLst>
            <pc:docMk/>
            <pc:sldMk cId="1097583363" sldId="300"/>
            <ac:spMk id="52" creationId="{03832756-A96D-4697-98FF-ADCCD9C911D4}"/>
          </ac:spMkLst>
        </pc:spChg>
        <pc:spChg chg="del">
          <ac:chgData name="GALASSO, Damien" userId="S::damien.galasso@capgemini.com::7f12dbef-39e8-4f8c-9127-a94d7215092c" providerId="AD" clId="Web-{3580DE0E-8BEB-420B-F1E3-DF59E406B05C}" dt="2020-09-09T08:33:42.534" v="217"/>
          <ac:spMkLst>
            <pc:docMk/>
            <pc:sldMk cId="1097583363" sldId="300"/>
            <ac:spMk id="54" creationId="{3C2F6D0A-03AE-4E73-9FEB-1BFE4000FEEE}"/>
          </ac:spMkLst>
        </pc:spChg>
        <pc:spChg chg="mod">
          <ac:chgData name="GALASSO, Damien" userId="S::damien.galasso@capgemini.com::7f12dbef-39e8-4f8c-9127-a94d7215092c" providerId="AD" clId="Web-{3580DE0E-8BEB-420B-F1E3-DF59E406B05C}" dt="2020-09-09T08:46:56.468" v="558" actId="14100"/>
          <ac:spMkLst>
            <pc:docMk/>
            <pc:sldMk cId="1097583363" sldId="300"/>
            <ac:spMk id="60" creationId="{00000000-0000-0000-0000-000000000000}"/>
          </ac:spMkLst>
        </pc:spChg>
        <pc:spChg chg="del">
          <ac:chgData name="GALASSO, Damien" userId="S::damien.galasso@capgemini.com::7f12dbef-39e8-4f8c-9127-a94d7215092c" providerId="AD" clId="Web-{3580DE0E-8BEB-420B-F1E3-DF59E406B05C}" dt="2020-09-09T08:30:43.531" v="196"/>
          <ac:spMkLst>
            <pc:docMk/>
            <pc:sldMk cId="1097583363" sldId="300"/>
            <ac:spMk id="61" creationId="{00000000-0000-0000-0000-000000000000}"/>
          </ac:spMkLst>
        </pc:spChg>
        <pc:spChg chg="mod">
          <ac:chgData name="GALASSO, Damien" userId="S::damien.galasso@capgemini.com::7f12dbef-39e8-4f8c-9127-a94d7215092c" providerId="AD" clId="Web-{3580DE0E-8BEB-420B-F1E3-DF59E406B05C}" dt="2020-09-09T08:47:03.624" v="559" actId="14100"/>
          <ac:spMkLst>
            <pc:docMk/>
            <pc:sldMk cId="1097583363" sldId="300"/>
            <ac:spMk id="62" creationId="{00000000-0000-0000-0000-000000000000}"/>
          </ac:spMkLst>
        </pc:spChg>
        <pc:spChg chg="mod">
          <ac:chgData name="GALASSO, Damien" userId="S::damien.galasso@capgemini.com::7f12dbef-39e8-4f8c-9127-a94d7215092c" providerId="AD" clId="Web-{3580DE0E-8BEB-420B-F1E3-DF59E406B05C}" dt="2020-09-09T08:38:32.023" v="243" actId="20577"/>
          <ac:spMkLst>
            <pc:docMk/>
            <pc:sldMk cId="1097583363" sldId="300"/>
            <ac:spMk id="65" creationId="{7FB3716E-9382-4C5B-89D8-7D3D309649B1}"/>
          </ac:spMkLst>
        </pc:spChg>
        <pc:spChg chg="mod">
          <ac:chgData name="GALASSO, Damien" userId="S::damien.galasso@capgemini.com::7f12dbef-39e8-4f8c-9127-a94d7215092c" providerId="AD" clId="Web-{3580DE0E-8BEB-420B-F1E3-DF59E406B05C}" dt="2020-09-09T08:42:26.776" v="356" actId="20577"/>
          <ac:spMkLst>
            <pc:docMk/>
            <pc:sldMk cId="1097583363" sldId="300"/>
            <ac:spMk id="66" creationId="{E2F5E3C3-8C95-4F9C-8370-0A1C87237CA8}"/>
          </ac:spMkLst>
        </pc:spChg>
        <pc:spChg chg="del mod">
          <ac:chgData name="GALASSO, Damien" userId="S::damien.galasso@capgemini.com::7f12dbef-39e8-4f8c-9127-a94d7215092c" providerId="AD" clId="Web-{3580DE0E-8BEB-420B-F1E3-DF59E406B05C}" dt="2020-09-09T08:30:46.500" v="198"/>
          <ac:spMkLst>
            <pc:docMk/>
            <pc:sldMk cId="1097583363" sldId="300"/>
            <ac:spMk id="67" creationId="{7FB3716E-9382-4C5B-89D8-7D3D309649B1}"/>
          </ac:spMkLst>
        </pc:spChg>
        <pc:spChg chg="del">
          <ac:chgData name="GALASSO, Damien" userId="S::damien.galasso@capgemini.com::7f12dbef-39e8-4f8c-9127-a94d7215092c" providerId="AD" clId="Web-{3580DE0E-8BEB-420B-F1E3-DF59E406B05C}" dt="2020-09-09T08:30:47.578" v="199"/>
          <ac:spMkLst>
            <pc:docMk/>
            <pc:sldMk cId="1097583363" sldId="300"/>
            <ac:spMk id="68" creationId="{E2F5E3C3-8C95-4F9C-8370-0A1C87237CA8}"/>
          </ac:spMkLst>
        </pc:spChg>
        <pc:spChg chg="mod">
          <ac:chgData name="GALASSO, Damien" userId="S::damien.galasso@capgemini.com::7f12dbef-39e8-4f8c-9127-a94d7215092c" providerId="AD" clId="Web-{3580DE0E-8BEB-420B-F1E3-DF59E406B05C}" dt="2020-09-09T08:39:05.101" v="249"/>
          <ac:spMkLst>
            <pc:docMk/>
            <pc:sldMk cId="1097583363" sldId="300"/>
            <ac:spMk id="69" creationId="{7FB3716E-9382-4C5B-89D8-7D3D309649B1}"/>
          </ac:spMkLst>
        </pc:spChg>
        <pc:spChg chg="mod">
          <ac:chgData name="GALASSO, Damien" userId="S::damien.galasso@capgemini.com::7f12dbef-39e8-4f8c-9127-a94d7215092c" providerId="AD" clId="Web-{3580DE0E-8BEB-420B-F1E3-DF59E406B05C}" dt="2020-09-09T08:42:50.964" v="409" actId="20577"/>
          <ac:spMkLst>
            <pc:docMk/>
            <pc:sldMk cId="1097583363" sldId="300"/>
            <ac:spMk id="70" creationId="{E2F5E3C3-8C95-4F9C-8370-0A1C87237CA8}"/>
          </ac:spMkLst>
        </pc:spChg>
        <pc:grpChg chg="del">
          <ac:chgData name="GALASSO, Damien" userId="S::damien.galasso@capgemini.com::7f12dbef-39e8-4f8c-9127-a94d7215092c" providerId="AD" clId="Web-{3580DE0E-8BEB-420B-F1E3-DF59E406B05C}" dt="2020-09-09T08:34:31.988" v="225"/>
          <ac:grpSpMkLst>
            <pc:docMk/>
            <pc:sldMk cId="1097583363" sldId="300"/>
            <ac:grpSpMk id="46" creationId="{D08D893A-3784-4062-AD67-75C11DD4BC0A}"/>
          </ac:grpSpMkLst>
        </pc:grpChg>
        <pc:grpChg chg="del">
          <ac:chgData name="GALASSO, Damien" userId="S::damien.galasso@capgemini.com::7f12dbef-39e8-4f8c-9127-a94d7215092c" providerId="AD" clId="Web-{3580DE0E-8BEB-420B-F1E3-DF59E406B05C}" dt="2020-09-09T08:30:40.672" v="194"/>
          <ac:grpSpMkLst>
            <pc:docMk/>
            <pc:sldMk cId="1097583363" sldId="300"/>
            <ac:grpSpMk id="50" creationId="{19621B79-FE8E-4A93-A16C-41B91E501972}"/>
          </ac:grpSpMkLst>
        </pc:grpChg>
        <pc:grpChg chg="del">
          <ac:chgData name="GALASSO, Damien" userId="S::damien.galasso@capgemini.com::7f12dbef-39e8-4f8c-9127-a94d7215092c" providerId="AD" clId="Web-{3580DE0E-8BEB-420B-F1E3-DF59E406B05C}" dt="2020-09-09T08:33:44.800" v="218"/>
          <ac:grpSpMkLst>
            <pc:docMk/>
            <pc:sldMk cId="1097583363" sldId="300"/>
            <ac:grpSpMk id="53" creationId="{2450D3E4-236D-4FB2-A7B0-FA7B6A48CF6E}"/>
          </ac:grpSpMkLst>
        </pc:grpChg>
        <pc:picChg chg="add mod">
          <ac:chgData name="GALASSO, Damien" userId="S::damien.galasso@capgemini.com::7f12dbef-39e8-4f8c-9127-a94d7215092c" providerId="AD" clId="Web-{3580DE0E-8BEB-420B-F1E3-DF59E406B05C}" dt="2020-09-09T08:35:22.832" v="235" actId="1076"/>
          <ac:picMkLst>
            <pc:docMk/>
            <pc:sldMk cId="1097583363" sldId="300"/>
            <ac:picMk id="2" creationId="{1315B113-4E05-488D-AF3B-7003CED75A48}"/>
          </ac:picMkLst>
        </pc:picChg>
        <pc:picChg chg="add mod">
          <ac:chgData name="GALASSO, Damien" userId="S::damien.galasso@capgemini.com::7f12dbef-39e8-4f8c-9127-a94d7215092c" providerId="AD" clId="Web-{3580DE0E-8BEB-420B-F1E3-DF59E406B05C}" dt="2020-09-09T08:35:29.129" v="236" actId="1076"/>
          <ac:picMkLst>
            <pc:docMk/>
            <pc:sldMk cId="1097583363" sldId="300"/>
            <ac:picMk id="3" creationId="{E1B76F49-2522-4488-8FCC-22D0E8D9A680}"/>
          </ac:picMkLst>
        </pc:picChg>
      </pc:sldChg>
      <pc:sldChg chg="new del">
        <pc:chgData name="GALASSO, Damien" userId="S::damien.galasso@capgemini.com::7f12dbef-39e8-4f8c-9127-a94d7215092c" providerId="AD" clId="Web-{3580DE0E-8BEB-420B-F1E3-DF59E406B05C}" dt="2020-09-09T06:57:33.146" v="2"/>
        <pc:sldMkLst>
          <pc:docMk/>
          <pc:sldMk cId="3238568889" sldId="300"/>
        </pc:sldMkLst>
      </pc:sldChg>
      <pc:sldChg chg="new del">
        <pc:chgData name="GALASSO, Damien" userId="S::damien.galasso@capgemini.com::7f12dbef-39e8-4f8c-9127-a94d7215092c" providerId="AD" clId="Web-{3580DE0E-8BEB-420B-F1E3-DF59E406B05C}" dt="2020-09-09T08:30:07.687" v="192"/>
        <pc:sldMkLst>
          <pc:docMk/>
          <pc:sldMk cId="4234655025" sldId="300"/>
        </pc:sldMkLst>
      </pc:sldChg>
      <pc:sldChg chg="addSp delSp modSp add ord replId">
        <pc:chgData name="GALASSO, Damien" userId="S::damien.galasso@capgemini.com::7f12dbef-39e8-4f8c-9127-a94d7215092c" providerId="AD" clId="Web-{3580DE0E-8BEB-420B-F1E3-DF59E406B05C}" dt="2020-09-09T09:08:28.738" v="577" actId="1076"/>
        <pc:sldMkLst>
          <pc:docMk/>
          <pc:sldMk cId="849790662" sldId="301"/>
        </pc:sldMkLst>
        <pc:spChg chg="del">
          <ac:chgData name="GALASSO, Damien" userId="S::damien.galasso@capgemini.com::7f12dbef-39e8-4f8c-9127-a94d7215092c" providerId="AD" clId="Web-{3580DE0E-8BEB-420B-F1E3-DF59E406B05C}" dt="2020-09-09T09:03:16.827" v="569"/>
          <ac:spMkLst>
            <pc:docMk/>
            <pc:sldMk cId="849790662" sldId="301"/>
            <ac:spMk id="2" creationId="{00000000-0000-0000-0000-000000000000}"/>
          </ac:spMkLst>
        </pc:spChg>
        <pc:spChg chg="mod">
          <ac:chgData name="GALASSO, Damien" userId="S::damien.galasso@capgemini.com::7f12dbef-39e8-4f8c-9127-a94d7215092c" providerId="AD" clId="Web-{3580DE0E-8BEB-420B-F1E3-DF59E406B05C}" dt="2020-09-09T09:03:11.467" v="568" actId="14100"/>
          <ac:spMkLst>
            <pc:docMk/>
            <pc:sldMk cId="849790662" sldId="301"/>
            <ac:spMk id="5" creationId="{00000000-0000-0000-0000-000000000000}"/>
          </ac:spMkLst>
        </pc:spChg>
        <pc:picChg chg="add mod">
          <ac:chgData name="GALASSO, Damien" userId="S::damien.galasso@capgemini.com::7f12dbef-39e8-4f8c-9127-a94d7215092c" providerId="AD" clId="Web-{3580DE0E-8BEB-420B-F1E3-DF59E406B05C}" dt="2020-09-09T09:08:28.738" v="577" actId="1076"/>
          <ac:picMkLst>
            <pc:docMk/>
            <pc:sldMk cId="849790662" sldId="301"/>
            <ac:picMk id="3" creationId="{28E14BAD-A55C-49B3-A34B-47EC4EDC0323}"/>
          </ac:picMkLst>
        </pc:picChg>
      </pc:sldChg>
    </pc:docChg>
  </pc:docChgLst>
  <pc:docChgLst>
    <pc:chgData name="FLAMENT, Bruno" userId="S::bruno.flament@capgemini.com::de63c4a3-01af-44ba-95bb-6f8fcaf1ef68" providerId="AD" clId="Web-{C5DB5609-12D5-4FDE-8A1A-988A1B103670}"/>
    <pc:docChg chg="addSld delSld modSld sldOrd">
      <pc:chgData name="FLAMENT, Bruno" userId="S::bruno.flament@capgemini.com::de63c4a3-01af-44ba-95bb-6f8fcaf1ef68" providerId="AD" clId="Web-{C5DB5609-12D5-4FDE-8A1A-988A1B103670}" dt="2020-09-23T16:44:15.793" v="971" actId="20577"/>
      <pc:docMkLst>
        <pc:docMk/>
      </pc:docMkLst>
      <pc:sldChg chg="del">
        <pc:chgData name="FLAMENT, Bruno" userId="S::bruno.flament@capgemini.com::de63c4a3-01af-44ba-95bb-6f8fcaf1ef68" providerId="AD" clId="Web-{C5DB5609-12D5-4FDE-8A1A-988A1B103670}" dt="2020-09-23T13:50:35.670" v="81"/>
        <pc:sldMkLst>
          <pc:docMk/>
          <pc:sldMk cId="2490784014" sldId="321"/>
        </pc:sldMkLst>
      </pc:sldChg>
      <pc:sldChg chg="del">
        <pc:chgData name="FLAMENT, Bruno" userId="S::bruno.flament@capgemini.com::de63c4a3-01af-44ba-95bb-6f8fcaf1ef68" providerId="AD" clId="Web-{C5DB5609-12D5-4FDE-8A1A-988A1B103670}" dt="2020-09-23T13:50:31.670" v="80"/>
        <pc:sldMkLst>
          <pc:docMk/>
          <pc:sldMk cId="3222310991" sldId="322"/>
        </pc:sldMkLst>
      </pc:sldChg>
      <pc:sldChg chg="modSp del">
        <pc:chgData name="FLAMENT, Bruno" userId="S::bruno.flament@capgemini.com::de63c4a3-01af-44ba-95bb-6f8fcaf1ef68" providerId="AD" clId="Web-{C5DB5609-12D5-4FDE-8A1A-988A1B103670}" dt="2020-09-23T16:37:25.828" v="898"/>
        <pc:sldMkLst>
          <pc:docMk/>
          <pc:sldMk cId="3746705426" sldId="330"/>
        </pc:sldMkLst>
        <pc:spChg chg="mod">
          <ac:chgData name="FLAMENT, Bruno" userId="S::bruno.flament@capgemini.com::de63c4a3-01af-44ba-95bb-6f8fcaf1ef68" providerId="AD" clId="Web-{C5DB5609-12D5-4FDE-8A1A-988A1B103670}" dt="2020-09-23T14:40:21.173" v="181" actId="20577"/>
          <ac:spMkLst>
            <pc:docMk/>
            <pc:sldMk cId="3746705426" sldId="330"/>
            <ac:spMk id="3" creationId="{94877C5B-2323-400F-95CE-6C47F22676F5}"/>
          </ac:spMkLst>
        </pc:spChg>
      </pc:sldChg>
      <pc:sldChg chg="del">
        <pc:chgData name="FLAMENT, Bruno" userId="S::bruno.flament@capgemini.com::de63c4a3-01af-44ba-95bb-6f8fcaf1ef68" providerId="AD" clId="Web-{C5DB5609-12D5-4FDE-8A1A-988A1B103670}" dt="2020-09-23T14:46:04.493" v="259"/>
        <pc:sldMkLst>
          <pc:docMk/>
          <pc:sldMk cId="3749144415" sldId="333"/>
        </pc:sldMkLst>
      </pc:sldChg>
      <pc:sldChg chg="delSp modSp del">
        <pc:chgData name="FLAMENT, Bruno" userId="S::bruno.flament@capgemini.com::de63c4a3-01af-44ba-95bb-6f8fcaf1ef68" providerId="AD" clId="Web-{C5DB5609-12D5-4FDE-8A1A-988A1B103670}" dt="2020-09-23T14:44:11.892" v="232"/>
        <pc:sldMkLst>
          <pc:docMk/>
          <pc:sldMk cId="1960341879" sldId="334"/>
        </pc:sldMkLst>
        <pc:spChg chg="mod">
          <ac:chgData name="FLAMENT, Bruno" userId="S::bruno.flament@capgemini.com::de63c4a3-01af-44ba-95bb-6f8fcaf1ef68" providerId="AD" clId="Web-{C5DB5609-12D5-4FDE-8A1A-988A1B103670}" dt="2020-09-23T14:37:34.521" v="150" actId="14100"/>
          <ac:spMkLst>
            <pc:docMk/>
            <pc:sldMk cId="1960341879" sldId="334"/>
            <ac:spMk id="9" creationId="{F8DF4550-5E6B-449D-8211-D1FD14AE21B4}"/>
          </ac:spMkLst>
        </pc:spChg>
        <pc:graphicFrameChg chg="del">
          <ac:chgData name="FLAMENT, Bruno" userId="S::bruno.flament@capgemini.com::de63c4a3-01af-44ba-95bb-6f8fcaf1ef68" providerId="AD" clId="Web-{C5DB5609-12D5-4FDE-8A1A-988A1B103670}" dt="2020-09-23T14:42:30.041" v="195"/>
          <ac:graphicFrameMkLst>
            <pc:docMk/>
            <pc:sldMk cId="1960341879" sldId="334"/>
            <ac:graphicFrameMk id="20" creationId="{261DB1AC-5E7C-40AA-8817-7B2640E08B6F}"/>
          </ac:graphicFrameMkLst>
        </pc:graphicFrameChg>
        <pc:graphicFrameChg chg="del mod modGraphic">
          <ac:chgData name="FLAMENT, Bruno" userId="S::bruno.flament@capgemini.com::de63c4a3-01af-44ba-95bb-6f8fcaf1ef68" providerId="AD" clId="Web-{C5DB5609-12D5-4FDE-8A1A-988A1B103670}" dt="2020-09-23T14:42:29.073" v="194"/>
          <ac:graphicFrameMkLst>
            <pc:docMk/>
            <pc:sldMk cId="1960341879" sldId="334"/>
            <ac:graphicFrameMk id="21" creationId="{B49BAA2D-5D14-471F-AE9A-213404B89340}"/>
          </ac:graphicFrameMkLst>
        </pc:graphicFrameChg>
      </pc:sldChg>
      <pc:sldChg chg="delSp del">
        <pc:chgData name="FLAMENT, Bruno" userId="S::bruno.flament@capgemini.com::de63c4a3-01af-44ba-95bb-6f8fcaf1ef68" providerId="AD" clId="Web-{C5DB5609-12D5-4FDE-8A1A-988A1B103670}" dt="2020-09-23T16:35:01.318" v="897"/>
        <pc:sldMkLst>
          <pc:docMk/>
          <pc:sldMk cId="3273455644" sldId="335"/>
        </pc:sldMkLst>
        <pc:spChg chg="del">
          <ac:chgData name="FLAMENT, Bruno" userId="S::bruno.flament@capgemini.com::de63c4a3-01af-44ba-95bb-6f8fcaf1ef68" providerId="AD" clId="Web-{C5DB5609-12D5-4FDE-8A1A-988A1B103670}" dt="2020-09-23T16:07:41.928" v="659"/>
          <ac:spMkLst>
            <pc:docMk/>
            <pc:sldMk cId="3273455644" sldId="335"/>
            <ac:spMk id="3" creationId="{96B2BC18-048F-4DD3-A0D0-8ADB2A83B796}"/>
          </ac:spMkLst>
        </pc:spChg>
        <pc:picChg chg="del">
          <ac:chgData name="FLAMENT, Bruno" userId="S::bruno.flament@capgemini.com::de63c4a3-01af-44ba-95bb-6f8fcaf1ef68" providerId="AD" clId="Web-{C5DB5609-12D5-4FDE-8A1A-988A1B103670}" dt="2020-09-23T16:07:41.928" v="660"/>
          <ac:picMkLst>
            <pc:docMk/>
            <pc:sldMk cId="3273455644" sldId="335"/>
            <ac:picMk id="2" creationId="{7C7F8463-7255-4956-B3B9-6E7371527D04}"/>
          </ac:picMkLst>
        </pc:picChg>
      </pc:sldChg>
      <pc:sldChg chg="del">
        <pc:chgData name="FLAMENT, Bruno" userId="S::bruno.flament@capgemini.com::de63c4a3-01af-44ba-95bb-6f8fcaf1ef68" providerId="AD" clId="Web-{C5DB5609-12D5-4FDE-8A1A-988A1B103670}" dt="2020-09-23T14:39:29.498" v="178"/>
        <pc:sldMkLst>
          <pc:docMk/>
          <pc:sldMk cId="249649090" sldId="337"/>
        </pc:sldMkLst>
      </pc:sldChg>
      <pc:sldChg chg="del">
        <pc:chgData name="FLAMENT, Bruno" userId="S::bruno.flament@capgemini.com::de63c4a3-01af-44ba-95bb-6f8fcaf1ef68" providerId="AD" clId="Web-{C5DB5609-12D5-4FDE-8A1A-988A1B103670}" dt="2020-09-23T14:39:29.498" v="179"/>
        <pc:sldMkLst>
          <pc:docMk/>
          <pc:sldMk cId="2939952590" sldId="338"/>
        </pc:sldMkLst>
      </pc:sldChg>
      <pc:sldChg chg="addSp delSp modSp del">
        <pc:chgData name="FLAMENT, Bruno" userId="S::bruno.flament@capgemini.com::de63c4a3-01af-44ba-95bb-6f8fcaf1ef68" providerId="AD" clId="Web-{C5DB5609-12D5-4FDE-8A1A-988A1B103670}" dt="2020-09-23T16:42:13.472" v="964"/>
        <pc:sldMkLst>
          <pc:docMk/>
          <pc:sldMk cId="3581971898" sldId="339"/>
        </pc:sldMkLst>
        <pc:spChg chg="del">
          <ac:chgData name="FLAMENT, Bruno" userId="S::bruno.flament@capgemini.com::de63c4a3-01af-44ba-95bb-6f8fcaf1ef68" providerId="AD" clId="Web-{C5DB5609-12D5-4FDE-8A1A-988A1B103670}" dt="2020-09-23T16:39:50.260" v="923"/>
          <ac:spMkLst>
            <pc:docMk/>
            <pc:sldMk cId="3581971898" sldId="339"/>
            <ac:spMk id="3" creationId="{BB3FE2EE-FA2F-44B1-89B4-678008E848FC}"/>
          </ac:spMkLst>
        </pc:spChg>
        <pc:spChg chg="add mod">
          <ac:chgData name="FLAMENT, Bruno" userId="S::bruno.flament@capgemini.com::de63c4a3-01af-44ba-95bb-6f8fcaf1ef68" providerId="AD" clId="Web-{C5DB5609-12D5-4FDE-8A1A-988A1B103670}" dt="2020-09-23T16:39:50.260" v="923"/>
          <ac:spMkLst>
            <pc:docMk/>
            <pc:sldMk cId="3581971898" sldId="339"/>
            <ac:spMk id="8" creationId="{550CBF2F-AF3B-4808-9479-127EBE04F65F}"/>
          </ac:spMkLst>
        </pc:spChg>
        <pc:picChg chg="del">
          <ac:chgData name="FLAMENT, Bruno" userId="S::bruno.flament@capgemini.com::de63c4a3-01af-44ba-95bb-6f8fcaf1ef68" providerId="AD" clId="Web-{C5DB5609-12D5-4FDE-8A1A-988A1B103670}" dt="2020-09-23T16:39:50.213" v="922"/>
          <ac:picMkLst>
            <pc:docMk/>
            <pc:sldMk cId="3581971898" sldId="339"/>
            <ac:picMk id="6" creationId="{D4F690B4-086B-442F-9449-52D2AEE882F3}"/>
          </ac:picMkLst>
        </pc:picChg>
      </pc:sldChg>
      <pc:sldChg chg="addSp delSp modSp del">
        <pc:chgData name="FLAMENT, Bruno" userId="S::bruno.flament@capgemini.com::de63c4a3-01af-44ba-95bb-6f8fcaf1ef68" providerId="AD" clId="Web-{C5DB5609-12D5-4FDE-8A1A-988A1B103670}" dt="2020-09-23T14:34:03.039" v="102"/>
        <pc:sldMkLst>
          <pc:docMk/>
          <pc:sldMk cId="2971435463" sldId="342"/>
        </pc:sldMkLst>
        <pc:spChg chg="add mod">
          <ac:chgData name="FLAMENT, Bruno" userId="S::bruno.flament@capgemini.com::de63c4a3-01af-44ba-95bb-6f8fcaf1ef68" providerId="AD" clId="Web-{C5DB5609-12D5-4FDE-8A1A-988A1B103670}" dt="2020-09-23T13:38:20.439" v="31" actId="20577"/>
          <ac:spMkLst>
            <pc:docMk/>
            <pc:sldMk cId="2971435463" sldId="342"/>
            <ac:spMk id="3" creationId="{90B4434B-779E-4224-BAA2-A292916D741E}"/>
          </ac:spMkLst>
        </pc:spChg>
        <pc:spChg chg="add del">
          <ac:chgData name="FLAMENT, Bruno" userId="S::bruno.flament@capgemini.com::de63c4a3-01af-44ba-95bb-6f8fcaf1ef68" providerId="AD" clId="Web-{C5DB5609-12D5-4FDE-8A1A-988A1B103670}" dt="2020-09-23T13:39:09.628" v="39"/>
          <ac:spMkLst>
            <pc:docMk/>
            <pc:sldMk cId="2971435463" sldId="342"/>
            <ac:spMk id="4" creationId="{AF940DCD-5520-4B65-8F4A-C196372127C7}"/>
          </ac:spMkLst>
        </pc:spChg>
        <pc:spChg chg="add del mod">
          <ac:chgData name="FLAMENT, Bruno" userId="S::bruno.flament@capgemini.com::de63c4a3-01af-44ba-95bb-6f8fcaf1ef68" providerId="AD" clId="Web-{C5DB5609-12D5-4FDE-8A1A-988A1B103670}" dt="2020-09-23T13:39:08.113" v="38"/>
          <ac:spMkLst>
            <pc:docMk/>
            <pc:sldMk cId="2971435463" sldId="342"/>
            <ac:spMk id="5" creationId="{D58A515E-0C86-47E7-AC44-7DEAE299944F}"/>
          </ac:spMkLst>
        </pc:spChg>
        <pc:spChg chg="add mod">
          <ac:chgData name="FLAMENT, Bruno" userId="S::bruno.flament@capgemini.com::de63c4a3-01af-44ba-95bb-6f8fcaf1ef68" providerId="AD" clId="Web-{C5DB5609-12D5-4FDE-8A1A-988A1B103670}" dt="2020-09-23T13:39:59.381" v="48" actId="20577"/>
          <ac:spMkLst>
            <pc:docMk/>
            <pc:sldMk cId="2971435463" sldId="342"/>
            <ac:spMk id="7" creationId="{A2DE5E3B-6B00-45F2-9BE7-2049AE89BF6D}"/>
          </ac:spMkLst>
        </pc:spChg>
      </pc:sldChg>
      <pc:sldChg chg="new del">
        <pc:chgData name="FLAMENT, Bruno" userId="S::bruno.flament@capgemini.com::de63c4a3-01af-44ba-95bb-6f8fcaf1ef68" providerId="AD" clId="Web-{C5DB5609-12D5-4FDE-8A1A-988A1B103670}" dt="2020-09-23T13:38:00.844" v="27"/>
        <pc:sldMkLst>
          <pc:docMk/>
          <pc:sldMk cId="2218364030" sldId="343"/>
        </pc:sldMkLst>
      </pc:sldChg>
      <pc:sldChg chg="modSp add del replId">
        <pc:chgData name="FLAMENT, Bruno" userId="S::bruno.flament@capgemini.com::de63c4a3-01af-44ba-95bb-6f8fcaf1ef68" providerId="AD" clId="Web-{C5DB5609-12D5-4FDE-8A1A-988A1B103670}" dt="2020-09-23T14:34:13.820" v="106"/>
        <pc:sldMkLst>
          <pc:docMk/>
          <pc:sldMk cId="2678303212" sldId="343"/>
        </pc:sldMkLst>
        <pc:spChg chg="mod">
          <ac:chgData name="FLAMENT, Bruno" userId="S::bruno.flament@capgemini.com::de63c4a3-01af-44ba-95bb-6f8fcaf1ef68" providerId="AD" clId="Web-{C5DB5609-12D5-4FDE-8A1A-988A1B103670}" dt="2020-09-23T13:40:13.959" v="56" actId="20577"/>
          <ac:spMkLst>
            <pc:docMk/>
            <pc:sldMk cId="2678303212" sldId="343"/>
            <ac:spMk id="3" creationId="{90B4434B-779E-4224-BAA2-A292916D741E}"/>
          </ac:spMkLst>
        </pc:spChg>
      </pc:sldChg>
      <pc:sldChg chg="modSp add del replId">
        <pc:chgData name="FLAMENT, Bruno" userId="S::bruno.flament@capgemini.com::de63c4a3-01af-44ba-95bb-6f8fcaf1ef68" providerId="AD" clId="Web-{C5DB5609-12D5-4FDE-8A1A-988A1B103670}" dt="2020-09-23T14:34:17.461" v="107"/>
        <pc:sldMkLst>
          <pc:docMk/>
          <pc:sldMk cId="2065827452" sldId="344"/>
        </pc:sldMkLst>
        <pc:spChg chg="mod">
          <ac:chgData name="FLAMENT, Bruno" userId="S::bruno.flament@capgemini.com::de63c4a3-01af-44ba-95bb-6f8fcaf1ef68" providerId="AD" clId="Web-{C5DB5609-12D5-4FDE-8A1A-988A1B103670}" dt="2020-09-23T13:40:34.350" v="62" actId="20577"/>
          <ac:spMkLst>
            <pc:docMk/>
            <pc:sldMk cId="2065827452" sldId="344"/>
            <ac:spMk id="3" creationId="{90B4434B-779E-4224-BAA2-A292916D741E}"/>
          </ac:spMkLst>
        </pc:spChg>
      </pc:sldChg>
      <pc:sldChg chg="add del replId">
        <pc:chgData name="FLAMENT, Bruno" userId="S::bruno.flament@capgemini.com::de63c4a3-01af-44ba-95bb-6f8fcaf1ef68" providerId="AD" clId="Web-{C5DB5609-12D5-4FDE-8A1A-988A1B103670}" dt="2020-09-23T13:41:33.587" v="71"/>
        <pc:sldMkLst>
          <pc:docMk/>
          <pc:sldMk cId="3124553336" sldId="345"/>
        </pc:sldMkLst>
      </pc:sldChg>
      <pc:sldChg chg="modSp add del replId">
        <pc:chgData name="FLAMENT, Bruno" userId="S::bruno.flament@capgemini.com::de63c4a3-01af-44ba-95bb-6f8fcaf1ef68" providerId="AD" clId="Web-{C5DB5609-12D5-4FDE-8A1A-988A1B103670}" dt="2020-09-23T14:34:20.071" v="108"/>
        <pc:sldMkLst>
          <pc:docMk/>
          <pc:sldMk cId="3706351500" sldId="346"/>
        </pc:sldMkLst>
        <pc:spChg chg="mod">
          <ac:chgData name="FLAMENT, Bruno" userId="S::bruno.flament@capgemini.com::de63c4a3-01af-44ba-95bb-6f8fcaf1ef68" providerId="AD" clId="Web-{C5DB5609-12D5-4FDE-8A1A-988A1B103670}" dt="2020-09-23T13:41:03.320" v="66" actId="20577"/>
          <ac:spMkLst>
            <pc:docMk/>
            <pc:sldMk cId="3706351500" sldId="346"/>
            <ac:spMk id="3" creationId="{90B4434B-779E-4224-BAA2-A292916D741E}"/>
          </ac:spMkLst>
        </pc:spChg>
      </pc:sldChg>
      <pc:sldChg chg="modSp add ord replId">
        <pc:chgData name="FLAMENT, Bruno" userId="S::bruno.flament@capgemini.com::de63c4a3-01af-44ba-95bb-6f8fcaf1ef68" providerId="AD" clId="Web-{C5DB5609-12D5-4FDE-8A1A-988A1B103670}" dt="2020-09-23T16:34:41.739" v="896" actId="1076"/>
        <pc:sldMkLst>
          <pc:docMk/>
          <pc:sldMk cId="1732620760" sldId="347"/>
        </pc:sldMkLst>
        <pc:spChg chg="mod">
          <ac:chgData name="FLAMENT, Bruno" userId="S::bruno.flament@capgemini.com::de63c4a3-01af-44ba-95bb-6f8fcaf1ef68" providerId="AD" clId="Web-{C5DB5609-12D5-4FDE-8A1A-988A1B103670}" dt="2020-09-23T16:34:41.739" v="896" actId="1076"/>
          <ac:spMkLst>
            <pc:docMk/>
            <pc:sldMk cId="1732620760" sldId="347"/>
            <ac:spMk id="3" creationId="{94877C5B-2323-400F-95CE-6C47F22676F5}"/>
          </ac:spMkLst>
        </pc:spChg>
      </pc:sldChg>
      <pc:sldChg chg="add del replId">
        <pc:chgData name="FLAMENT, Bruno" userId="S::bruno.flament@capgemini.com::de63c4a3-01af-44ba-95bb-6f8fcaf1ef68" providerId="AD" clId="Web-{C5DB5609-12D5-4FDE-8A1A-988A1B103670}" dt="2020-09-23T13:41:18.227" v="68"/>
        <pc:sldMkLst>
          <pc:docMk/>
          <pc:sldMk cId="3467791599" sldId="347"/>
        </pc:sldMkLst>
      </pc:sldChg>
      <pc:sldChg chg="modSp add del replId">
        <pc:chgData name="FLAMENT, Bruno" userId="S::bruno.flament@capgemini.com::de63c4a3-01af-44ba-95bb-6f8fcaf1ef68" providerId="AD" clId="Web-{C5DB5609-12D5-4FDE-8A1A-988A1B103670}" dt="2020-09-23T13:42:17.370" v="76"/>
        <pc:sldMkLst>
          <pc:docMk/>
          <pc:sldMk cId="638303017" sldId="348"/>
        </pc:sldMkLst>
        <pc:spChg chg="mod">
          <ac:chgData name="FLAMENT, Bruno" userId="S::bruno.flament@capgemini.com::de63c4a3-01af-44ba-95bb-6f8fcaf1ef68" providerId="AD" clId="Web-{C5DB5609-12D5-4FDE-8A1A-988A1B103670}" dt="2020-09-23T13:42:08.744" v="73" actId="20577"/>
          <ac:spMkLst>
            <pc:docMk/>
            <pc:sldMk cId="638303017" sldId="348"/>
            <ac:spMk id="3" creationId="{90B4434B-779E-4224-BAA2-A292916D741E}"/>
          </ac:spMkLst>
        </pc:spChg>
      </pc:sldChg>
      <pc:sldChg chg="delSp modSp add replId">
        <pc:chgData name="FLAMENT, Bruno" userId="S::bruno.flament@capgemini.com::de63c4a3-01af-44ba-95bb-6f8fcaf1ef68" providerId="AD" clId="Web-{C5DB5609-12D5-4FDE-8A1A-988A1B103670}" dt="2020-09-23T14:43:42.280" v="231" actId="1076"/>
        <pc:sldMkLst>
          <pc:docMk/>
          <pc:sldMk cId="2278049258" sldId="348"/>
        </pc:sldMkLst>
        <pc:spChg chg="mod">
          <ac:chgData name="FLAMENT, Bruno" userId="S::bruno.flament@capgemini.com::de63c4a3-01af-44ba-95bb-6f8fcaf1ef68" providerId="AD" clId="Web-{C5DB5609-12D5-4FDE-8A1A-988A1B103670}" dt="2020-09-23T14:43:42.280" v="231" actId="1076"/>
          <ac:spMkLst>
            <pc:docMk/>
            <pc:sldMk cId="2278049258" sldId="348"/>
            <ac:spMk id="4" creationId="{2B0C00D4-C914-450C-AC3B-6390CF351EE8}"/>
          </ac:spMkLst>
        </pc:spChg>
        <pc:graphicFrameChg chg="del">
          <ac:chgData name="FLAMENT, Bruno" userId="S::bruno.flament@capgemini.com::de63c4a3-01af-44ba-95bb-6f8fcaf1ef68" providerId="AD" clId="Web-{C5DB5609-12D5-4FDE-8A1A-988A1B103670}" dt="2020-09-23T14:38:15.680" v="163"/>
          <ac:graphicFrameMkLst>
            <pc:docMk/>
            <pc:sldMk cId="2278049258" sldId="348"/>
            <ac:graphicFrameMk id="20" creationId="{261DB1AC-5E7C-40AA-8817-7B2640E08B6F}"/>
          </ac:graphicFrameMkLst>
        </pc:graphicFrameChg>
        <pc:graphicFrameChg chg="del">
          <ac:chgData name="FLAMENT, Bruno" userId="S::bruno.flament@capgemini.com::de63c4a3-01af-44ba-95bb-6f8fcaf1ef68" providerId="AD" clId="Web-{C5DB5609-12D5-4FDE-8A1A-988A1B103670}" dt="2020-09-23T14:38:14.618" v="162"/>
          <ac:graphicFrameMkLst>
            <pc:docMk/>
            <pc:sldMk cId="2278049258" sldId="348"/>
            <ac:graphicFrameMk id="21" creationId="{B49BAA2D-5D14-471F-AE9A-213404B89340}"/>
          </ac:graphicFrameMkLst>
        </pc:graphicFrameChg>
      </pc:sldChg>
      <pc:sldChg chg="add del replId">
        <pc:chgData name="FLAMENT, Bruno" userId="S::bruno.flament@capgemini.com::de63c4a3-01af-44ba-95bb-6f8fcaf1ef68" providerId="AD" clId="Web-{C5DB5609-12D5-4FDE-8A1A-988A1B103670}" dt="2020-09-23T14:37:52.710" v="152"/>
        <pc:sldMkLst>
          <pc:docMk/>
          <pc:sldMk cId="4285538078" sldId="348"/>
        </pc:sldMkLst>
      </pc:sldChg>
      <pc:sldChg chg="modSp add del ord replId">
        <pc:chgData name="FLAMENT, Bruno" userId="S::bruno.flament@capgemini.com::de63c4a3-01af-44ba-95bb-6f8fcaf1ef68" providerId="AD" clId="Web-{C5DB5609-12D5-4FDE-8A1A-988A1B103670}" dt="2020-09-23T14:34:22.899" v="109"/>
        <pc:sldMkLst>
          <pc:docMk/>
          <pc:sldMk cId="2214938049" sldId="349"/>
        </pc:sldMkLst>
        <pc:spChg chg="mod">
          <ac:chgData name="FLAMENT, Bruno" userId="S::bruno.flament@capgemini.com::de63c4a3-01af-44ba-95bb-6f8fcaf1ef68" providerId="AD" clId="Web-{C5DB5609-12D5-4FDE-8A1A-988A1B103670}" dt="2020-09-23T13:42:30.058" v="79" actId="20577"/>
          <ac:spMkLst>
            <pc:docMk/>
            <pc:sldMk cId="2214938049" sldId="349"/>
            <ac:spMk id="3" creationId="{90B4434B-779E-4224-BAA2-A292916D741E}"/>
          </ac:spMkLst>
        </pc:spChg>
      </pc:sldChg>
      <pc:sldChg chg="add del replId">
        <pc:chgData name="FLAMENT, Bruno" userId="S::bruno.flament@capgemini.com::de63c4a3-01af-44ba-95bb-6f8fcaf1ef68" providerId="AD" clId="Web-{C5DB5609-12D5-4FDE-8A1A-988A1B103670}" dt="2020-09-23T14:47:36.468" v="270"/>
        <pc:sldMkLst>
          <pc:docMk/>
          <pc:sldMk cId="2504320363" sldId="349"/>
        </pc:sldMkLst>
      </pc:sldChg>
      <pc:sldChg chg="modSp add del replId">
        <pc:chgData name="FLAMENT, Bruno" userId="S::bruno.flament@capgemini.com::de63c4a3-01af-44ba-95bb-6f8fcaf1ef68" providerId="AD" clId="Web-{C5DB5609-12D5-4FDE-8A1A-988A1B103670}" dt="2020-09-23T14:41:14.114" v="186"/>
        <pc:sldMkLst>
          <pc:docMk/>
          <pc:sldMk cId="3149986568" sldId="349"/>
        </pc:sldMkLst>
        <pc:spChg chg="mod">
          <ac:chgData name="FLAMENT, Bruno" userId="S::bruno.flament@capgemini.com::de63c4a3-01af-44ba-95bb-6f8fcaf1ef68" providerId="AD" clId="Web-{C5DB5609-12D5-4FDE-8A1A-988A1B103670}" dt="2020-09-23T14:38:24.993" v="170" actId="20577"/>
          <ac:spMkLst>
            <pc:docMk/>
            <pc:sldMk cId="3149986568" sldId="349"/>
            <ac:spMk id="4" creationId="{2B0C00D4-C914-450C-AC3B-6390CF351EE8}"/>
          </ac:spMkLst>
        </pc:spChg>
      </pc:sldChg>
      <pc:sldChg chg="modSp add del replId">
        <pc:chgData name="FLAMENT, Bruno" userId="S::bruno.flament@capgemini.com::de63c4a3-01af-44ba-95bb-6f8fcaf1ef68" providerId="AD" clId="Web-{C5DB5609-12D5-4FDE-8A1A-988A1B103670}" dt="2020-09-23T14:41:16.364" v="187"/>
        <pc:sldMkLst>
          <pc:docMk/>
          <pc:sldMk cId="122824336" sldId="350"/>
        </pc:sldMkLst>
        <pc:spChg chg="mod">
          <ac:chgData name="FLAMENT, Bruno" userId="S::bruno.flament@capgemini.com::de63c4a3-01af-44ba-95bb-6f8fcaf1ef68" providerId="AD" clId="Web-{C5DB5609-12D5-4FDE-8A1A-988A1B103670}" dt="2020-09-23T14:38:37.760" v="176" actId="20577"/>
          <ac:spMkLst>
            <pc:docMk/>
            <pc:sldMk cId="122824336" sldId="350"/>
            <ac:spMk id="4" creationId="{2B0C00D4-C914-450C-AC3B-6390CF351EE8}"/>
          </ac:spMkLst>
        </pc:spChg>
      </pc:sldChg>
      <pc:sldChg chg="addSp modSp add ord replId">
        <pc:chgData name="FLAMENT, Bruno" userId="S::bruno.flament@capgemini.com::de63c4a3-01af-44ba-95bb-6f8fcaf1ef68" providerId="AD" clId="Web-{C5DB5609-12D5-4FDE-8A1A-988A1B103670}" dt="2020-09-23T15:54:37.798" v="640" actId="20577"/>
        <pc:sldMkLst>
          <pc:docMk/>
          <pc:sldMk cId="1101671733" sldId="350"/>
        </pc:sldMkLst>
        <pc:spChg chg="add mod">
          <ac:chgData name="FLAMENT, Bruno" userId="S::bruno.flament@capgemini.com::de63c4a3-01af-44ba-95bb-6f8fcaf1ef68" providerId="AD" clId="Web-{C5DB5609-12D5-4FDE-8A1A-988A1B103670}" dt="2020-09-23T15:53:47.310" v="625" actId="20577"/>
          <ac:spMkLst>
            <pc:docMk/>
            <pc:sldMk cId="1101671733" sldId="350"/>
            <ac:spMk id="2" creationId="{F6BCEB6D-C8D7-44D0-8A86-6EBEABDED265}"/>
          </ac:spMkLst>
        </pc:spChg>
        <pc:spChg chg="add mod">
          <ac:chgData name="FLAMENT, Bruno" userId="S::bruno.flament@capgemini.com::de63c4a3-01af-44ba-95bb-6f8fcaf1ef68" providerId="AD" clId="Web-{C5DB5609-12D5-4FDE-8A1A-988A1B103670}" dt="2020-09-23T15:54:37.798" v="640" actId="20577"/>
          <ac:spMkLst>
            <pc:docMk/>
            <pc:sldMk cId="1101671733" sldId="350"/>
            <ac:spMk id="3" creationId="{684FA3DB-86C0-4262-872C-29FC731F9F32}"/>
          </ac:spMkLst>
        </pc:spChg>
        <pc:spChg chg="mod">
          <ac:chgData name="FLAMENT, Bruno" userId="S::bruno.flament@capgemini.com::de63c4a3-01af-44ba-95bb-6f8fcaf1ef68" providerId="AD" clId="Web-{C5DB5609-12D5-4FDE-8A1A-988A1B103670}" dt="2020-09-23T14:45:28.100" v="251" actId="20577"/>
          <ac:spMkLst>
            <pc:docMk/>
            <pc:sldMk cId="1101671733" sldId="350"/>
            <ac:spMk id="4" creationId="{2B0C00D4-C914-450C-AC3B-6390CF351EE8}"/>
          </ac:spMkLst>
        </pc:spChg>
      </pc:sldChg>
      <pc:sldChg chg="addSp delSp modSp add del replId">
        <pc:chgData name="FLAMENT, Bruno" userId="S::bruno.flament@capgemini.com::de63c4a3-01af-44ba-95bb-6f8fcaf1ef68" providerId="AD" clId="Web-{C5DB5609-12D5-4FDE-8A1A-988A1B103670}" dt="2020-09-23T14:35:34.341" v="124"/>
        <pc:sldMkLst>
          <pc:docMk/>
          <pc:sldMk cId="3949603847" sldId="350"/>
        </pc:sldMkLst>
        <pc:spChg chg="add del mod">
          <ac:chgData name="FLAMENT, Bruno" userId="S::bruno.flament@capgemini.com::de63c4a3-01af-44ba-95bb-6f8fcaf1ef68" providerId="AD" clId="Web-{C5DB5609-12D5-4FDE-8A1A-988A1B103670}" dt="2020-09-23T14:33:29.083" v="90"/>
          <ac:spMkLst>
            <pc:docMk/>
            <pc:sldMk cId="3949603847" sldId="350"/>
            <ac:spMk id="3" creationId="{59D9E5C7-DED9-46A9-853F-B59E9C165148}"/>
          </ac:spMkLst>
        </pc:spChg>
        <pc:spChg chg="mod">
          <ac:chgData name="FLAMENT, Bruno" userId="S::bruno.flament@capgemini.com::de63c4a3-01af-44ba-95bb-6f8fcaf1ef68" providerId="AD" clId="Web-{C5DB5609-12D5-4FDE-8A1A-988A1B103670}" dt="2020-09-23T14:33:56.179" v="101" actId="20577"/>
          <ac:spMkLst>
            <pc:docMk/>
            <pc:sldMk cId="3949603847" sldId="350"/>
            <ac:spMk id="4" creationId="{00000000-0000-0000-0000-000000000000}"/>
          </ac:spMkLst>
        </pc:spChg>
        <pc:spChg chg="del mod">
          <ac:chgData name="FLAMENT, Bruno" userId="S::bruno.flament@capgemini.com::de63c4a3-01af-44ba-95bb-6f8fcaf1ef68" providerId="AD" clId="Web-{C5DB5609-12D5-4FDE-8A1A-988A1B103670}" dt="2020-09-23T14:33:21.098" v="88"/>
          <ac:spMkLst>
            <pc:docMk/>
            <pc:sldMk cId="3949603847" sldId="350"/>
            <ac:spMk id="5" creationId="{00000000-0000-0000-0000-000000000000}"/>
          </ac:spMkLst>
        </pc:spChg>
        <pc:spChg chg="add del mod">
          <ac:chgData name="FLAMENT, Bruno" userId="S::bruno.flament@capgemini.com::de63c4a3-01af-44ba-95bb-6f8fcaf1ef68" providerId="AD" clId="Web-{C5DB5609-12D5-4FDE-8A1A-988A1B103670}" dt="2020-09-23T14:33:30.536" v="91"/>
          <ac:spMkLst>
            <pc:docMk/>
            <pc:sldMk cId="3949603847" sldId="350"/>
            <ac:spMk id="7" creationId="{A9D9A81B-3080-4D4A-AB03-6342BAE89C6B}"/>
          </ac:spMkLst>
        </pc:spChg>
        <pc:spChg chg="del">
          <ac:chgData name="FLAMENT, Bruno" userId="S::bruno.flament@capgemini.com::de63c4a3-01af-44ba-95bb-6f8fcaf1ef68" providerId="AD" clId="Web-{C5DB5609-12D5-4FDE-8A1A-988A1B103670}" dt="2020-09-23T14:33:24.911" v="89"/>
          <ac:spMkLst>
            <pc:docMk/>
            <pc:sldMk cId="3949603847" sldId="350"/>
            <ac:spMk id="8" creationId="{00000000-0000-0000-0000-000000000000}"/>
          </ac:spMkLst>
        </pc:spChg>
      </pc:sldChg>
      <pc:sldChg chg="addSp delSp modSp add replId">
        <pc:chgData name="FLAMENT, Bruno" userId="S::bruno.flament@capgemini.com::de63c4a3-01af-44ba-95bb-6f8fcaf1ef68" providerId="AD" clId="Web-{C5DB5609-12D5-4FDE-8A1A-988A1B103670}" dt="2020-09-23T14:48:30.784" v="281"/>
        <pc:sldMkLst>
          <pc:docMk/>
          <pc:sldMk cId="1078649116" sldId="351"/>
        </pc:sldMkLst>
        <pc:spChg chg="add del">
          <ac:chgData name="FLAMENT, Bruno" userId="S::bruno.flament@capgemini.com::de63c4a3-01af-44ba-95bb-6f8fcaf1ef68" providerId="AD" clId="Web-{C5DB5609-12D5-4FDE-8A1A-988A1B103670}" dt="2020-09-23T14:46:43.792" v="261"/>
          <ac:spMkLst>
            <pc:docMk/>
            <pc:sldMk cId="1078649116" sldId="351"/>
            <ac:spMk id="5" creationId="{FF89E9E4-83B3-4C48-90DD-AA0BFCD2BC3F}"/>
          </ac:spMkLst>
        </pc:spChg>
        <pc:graphicFrameChg chg="add mod modGraphic">
          <ac:chgData name="FLAMENT, Bruno" userId="S::bruno.flament@capgemini.com::de63c4a3-01af-44ba-95bb-6f8fcaf1ef68" providerId="AD" clId="Web-{C5DB5609-12D5-4FDE-8A1A-988A1B103670}" dt="2020-09-23T14:48:30.784" v="281"/>
          <ac:graphicFrameMkLst>
            <pc:docMk/>
            <pc:sldMk cId="1078649116" sldId="351"/>
            <ac:graphicFrameMk id="2" creationId="{BADB45D4-335C-4511-ACBA-6EAF4282C4B6}"/>
          </ac:graphicFrameMkLst>
        </pc:graphicFrameChg>
        <pc:graphicFrameChg chg="add del">
          <ac:chgData name="FLAMENT, Bruno" userId="S::bruno.flament@capgemini.com::de63c4a3-01af-44ba-95bb-6f8fcaf1ef68" providerId="AD" clId="Web-{C5DB5609-12D5-4FDE-8A1A-988A1B103670}" dt="2020-09-23T14:46:56.871" v="264"/>
          <ac:graphicFrameMkLst>
            <pc:docMk/>
            <pc:sldMk cId="1078649116" sldId="351"/>
            <ac:graphicFrameMk id="3" creationId="{93BBA392-64EE-49CA-A65D-31DC829F47EE}"/>
          </ac:graphicFrameMkLst>
        </pc:graphicFrameChg>
        <pc:graphicFrameChg chg="add del">
          <ac:chgData name="FLAMENT, Bruno" userId="S::bruno.flament@capgemini.com::de63c4a3-01af-44ba-95bb-6f8fcaf1ef68" providerId="AD" clId="Web-{C5DB5609-12D5-4FDE-8A1A-988A1B103670}" dt="2020-09-23T14:47:03.106" v="266"/>
          <ac:graphicFrameMkLst>
            <pc:docMk/>
            <pc:sldMk cId="1078649116" sldId="351"/>
            <ac:graphicFrameMk id="8" creationId="{8209AF4C-3869-4A8D-9A98-56CA082BEA92}"/>
          </ac:graphicFrameMkLst>
        </pc:graphicFrameChg>
        <pc:graphicFrameChg chg="add del">
          <ac:chgData name="FLAMENT, Bruno" userId="S::bruno.flament@capgemini.com::de63c4a3-01af-44ba-95bb-6f8fcaf1ef68" providerId="AD" clId="Web-{C5DB5609-12D5-4FDE-8A1A-988A1B103670}" dt="2020-09-23T14:47:09.638" v="268"/>
          <ac:graphicFrameMkLst>
            <pc:docMk/>
            <pc:sldMk cId="1078649116" sldId="351"/>
            <ac:graphicFrameMk id="12" creationId="{DF20F09F-29EF-4899-B7AB-C23608447B4D}"/>
          </ac:graphicFrameMkLst>
        </pc:graphicFrameChg>
        <pc:graphicFrameChg chg="add mod">
          <ac:chgData name="FLAMENT, Bruno" userId="S::bruno.flament@capgemini.com::de63c4a3-01af-44ba-95bb-6f8fcaf1ef68" providerId="AD" clId="Web-{C5DB5609-12D5-4FDE-8A1A-988A1B103670}" dt="2020-09-23T14:47:44.078" v="272" actId="1076"/>
          <ac:graphicFrameMkLst>
            <pc:docMk/>
            <pc:sldMk cId="1078649116" sldId="351"/>
            <ac:graphicFrameMk id="14" creationId="{17E8FB3F-3D2C-4EBC-9CEB-BFFEADFC5E4A}"/>
          </ac:graphicFrameMkLst>
        </pc:graphicFrameChg>
      </pc:sldChg>
      <pc:sldChg chg="new del">
        <pc:chgData name="FLAMENT, Bruno" userId="S::bruno.flament@capgemini.com::de63c4a3-01af-44ba-95bb-6f8fcaf1ef68" providerId="AD" clId="Web-{C5DB5609-12D5-4FDE-8A1A-988A1B103670}" dt="2020-09-23T14:44:47.097" v="235"/>
        <pc:sldMkLst>
          <pc:docMk/>
          <pc:sldMk cId="1428711387" sldId="351"/>
        </pc:sldMkLst>
      </pc:sldChg>
      <pc:sldChg chg="modSp add del replId">
        <pc:chgData name="FLAMENT, Bruno" userId="S::bruno.flament@capgemini.com::de63c4a3-01af-44ba-95bb-6f8fcaf1ef68" providerId="AD" clId="Web-{C5DB5609-12D5-4FDE-8A1A-988A1B103670}" dt="2020-09-23T14:35:35.545" v="125"/>
        <pc:sldMkLst>
          <pc:docMk/>
          <pc:sldMk cId="1707775775" sldId="351"/>
        </pc:sldMkLst>
        <pc:spChg chg="mod">
          <ac:chgData name="FLAMENT, Bruno" userId="S::bruno.flament@capgemini.com::de63c4a3-01af-44ba-95bb-6f8fcaf1ef68" providerId="AD" clId="Web-{C5DB5609-12D5-4FDE-8A1A-988A1B103670}" dt="2020-09-23T14:34:31.087" v="113" actId="20577"/>
          <ac:spMkLst>
            <pc:docMk/>
            <pc:sldMk cId="1707775775" sldId="351"/>
            <ac:spMk id="4" creationId="{00000000-0000-0000-0000-000000000000}"/>
          </ac:spMkLst>
        </pc:spChg>
      </pc:sldChg>
      <pc:sldChg chg="add del replId">
        <pc:chgData name="FLAMENT, Bruno" userId="S::bruno.flament@capgemini.com::de63c4a3-01af-44ba-95bb-6f8fcaf1ef68" providerId="AD" clId="Web-{C5DB5609-12D5-4FDE-8A1A-988A1B103670}" dt="2020-09-23T14:35:36.951" v="127"/>
        <pc:sldMkLst>
          <pc:docMk/>
          <pc:sldMk cId="54767856" sldId="352"/>
        </pc:sldMkLst>
      </pc:sldChg>
      <pc:sldChg chg="addSp modSp add replId">
        <pc:chgData name="FLAMENT, Bruno" userId="S::bruno.flament@capgemini.com::de63c4a3-01af-44ba-95bb-6f8fcaf1ef68" providerId="AD" clId="Web-{C5DB5609-12D5-4FDE-8A1A-988A1B103670}" dt="2020-09-23T14:49:55.461" v="295" actId="1076"/>
        <pc:sldMkLst>
          <pc:docMk/>
          <pc:sldMk cId="4133466408" sldId="352"/>
        </pc:sldMkLst>
        <pc:spChg chg="mod">
          <ac:chgData name="FLAMENT, Bruno" userId="S::bruno.flament@capgemini.com::de63c4a3-01af-44ba-95bb-6f8fcaf1ef68" providerId="AD" clId="Web-{C5DB5609-12D5-4FDE-8A1A-988A1B103670}" dt="2020-09-23T14:49:37.413" v="290" actId="20577"/>
          <ac:spMkLst>
            <pc:docMk/>
            <pc:sldMk cId="4133466408" sldId="352"/>
            <ac:spMk id="4" creationId="{2B0C00D4-C914-450C-AC3B-6390CF351EE8}"/>
          </ac:spMkLst>
        </pc:spChg>
        <pc:picChg chg="add mod">
          <ac:chgData name="FLAMENT, Bruno" userId="S::bruno.flament@capgemini.com::de63c4a3-01af-44ba-95bb-6f8fcaf1ef68" providerId="AD" clId="Web-{C5DB5609-12D5-4FDE-8A1A-988A1B103670}" dt="2020-09-23T14:49:55.461" v="295" actId="1076"/>
          <ac:picMkLst>
            <pc:docMk/>
            <pc:sldMk cId="4133466408" sldId="352"/>
            <ac:picMk id="2" creationId="{A5D903AD-3B0F-4FA4-AADD-A6F15F1F9BFA}"/>
          </ac:picMkLst>
        </pc:picChg>
      </pc:sldChg>
      <pc:sldChg chg="add del replId">
        <pc:chgData name="FLAMENT, Bruno" userId="S::bruno.flament@capgemini.com::de63c4a3-01af-44ba-95bb-6f8fcaf1ef68" providerId="AD" clId="Web-{C5DB5609-12D5-4FDE-8A1A-988A1B103670}" dt="2020-09-23T14:35:36.310" v="126"/>
        <pc:sldMkLst>
          <pc:docMk/>
          <pc:sldMk cId="1382852539" sldId="353"/>
        </pc:sldMkLst>
      </pc:sldChg>
      <pc:sldChg chg="addSp delSp modSp add replId">
        <pc:chgData name="FLAMENT, Bruno" userId="S::bruno.flament@capgemini.com::de63c4a3-01af-44ba-95bb-6f8fcaf1ef68" providerId="AD" clId="Web-{C5DB5609-12D5-4FDE-8A1A-988A1B103670}" dt="2020-09-23T16:28:19.776" v="824" actId="1076"/>
        <pc:sldMkLst>
          <pc:docMk/>
          <pc:sldMk cId="4125119786" sldId="353"/>
        </pc:sldMkLst>
        <pc:spChg chg="mod">
          <ac:chgData name="FLAMENT, Bruno" userId="S::bruno.flament@capgemini.com::de63c4a3-01af-44ba-95bb-6f8fcaf1ef68" providerId="AD" clId="Web-{C5DB5609-12D5-4FDE-8A1A-988A1B103670}" dt="2020-09-23T16:28:10.260" v="822" actId="1076"/>
          <ac:spMkLst>
            <pc:docMk/>
            <pc:sldMk cId="4125119786" sldId="353"/>
            <ac:spMk id="4" creationId="{2B0C00D4-C914-450C-AC3B-6390CF351EE8}"/>
          </ac:spMkLst>
        </pc:spChg>
        <pc:spChg chg="add del">
          <ac:chgData name="FLAMENT, Bruno" userId="S::bruno.flament@capgemini.com::de63c4a3-01af-44ba-95bb-6f8fcaf1ef68" providerId="AD" clId="Web-{C5DB5609-12D5-4FDE-8A1A-988A1B103670}" dt="2020-09-23T14:52:01.532" v="317"/>
          <ac:spMkLst>
            <pc:docMk/>
            <pc:sldMk cId="4125119786" sldId="353"/>
            <ac:spMk id="5" creationId="{F58947D8-626B-4330-B6A5-984EF98D63D3}"/>
          </ac:spMkLst>
        </pc:spChg>
        <pc:spChg chg="add del">
          <ac:chgData name="FLAMENT, Bruno" userId="S::bruno.flament@capgemini.com::de63c4a3-01af-44ba-95bb-6f8fcaf1ef68" providerId="AD" clId="Web-{C5DB5609-12D5-4FDE-8A1A-988A1B103670}" dt="2020-09-23T14:52:00.282" v="315"/>
          <ac:spMkLst>
            <pc:docMk/>
            <pc:sldMk cId="4125119786" sldId="353"/>
            <ac:spMk id="11" creationId="{C26561E0-6787-43DC-A1A0-987BDE42777E}"/>
          </ac:spMkLst>
        </pc:spChg>
        <pc:spChg chg="add del mod">
          <ac:chgData name="FLAMENT, Bruno" userId="S::bruno.flament@capgemini.com::de63c4a3-01af-44ba-95bb-6f8fcaf1ef68" providerId="AD" clId="Web-{C5DB5609-12D5-4FDE-8A1A-988A1B103670}" dt="2020-09-23T15:15:51.659" v="428"/>
          <ac:spMkLst>
            <pc:docMk/>
            <pc:sldMk cId="4125119786" sldId="353"/>
            <ac:spMk id="13" creationId="{5C17025C-6934-4E49-8133-E3F18BDDFFED}"/>
          </ac:spMkLst>
        </pc:spChg>
        <pc:spChg chg="add del mod">
          <ac:chgData name="FLAMENT, Bruno" userId="S::bruno.flament@capgemini.com::de63c4a3-01af-44ba-95bb-6f8fcaf1ef68" providerId="AD" clId="Web-{C5DB5609-12D5-4FDE-8A1A-988A1B103670}" dt="2020-09-23T15:29:46.324" v="493"/>
          <ac:spMkLst>
            <pc:docMk/>
            <pc:sldMk cId="4125119786" sldId="353"/>
            <ac:spMk id="16" creationId="{C8BE9F7F-1DB5-49F1-A9EB-39C6C5D7E4E6}"/>
          </ac:spMkLst>
        </pc:spChg>
        <pc:spChg chg="add del mod">
          <ac:chgData name="FLAMENT, Bruno" userId="S::bruno.flament@capgemini.com::de63c4a3-01af-44ba-95bb-6f8fcaf1ef68" providerId="AD" clId="Web-{C5DB5609-12D5-4FDE-8A1A-988A1B103670}" dt="2020-09-23T16:10:00.828" v="672"/>
          <ac:spMkLst>
            <pc:docMk/>
            <pc:sldMk cId="4125119786" sldId="353"/>
            <ac:spMk id="19" creationId="{71D31662-4B96-4E78-9708-924FD53EB3EB}"/>
          </ac:spMkLst>
        </pc:spChg>
        <pc:graphicFrameChg chg="del">
          <ac:chgData name="FLAMENT, Bruno" userId="S::bruno.flament@capgemini.com::de63c4a3-01af-44ba-95bb-6f8fcaf1ef68" providerId="AD" clId="Web-{C5DB5609-12D5-4FDE-8A1A-988A1B103670}" dt="2020-09-23T14:51:29.999" v="307"/>
          <ac:graphicFrameMkLst>
            <pc:docMk/>
            <pc:sldMk cId="4125119786" sldId="353"/>
            <ac:graphicFrameMk id="2" creationId="{BADB45D4-335C-4511-ACBA-6EAF4282C4B6}"/>
          </ac:graphicFrameMkLst>
        </pc:graphicFrameChg>
        <pc:graphicFrameChg chg="del mod modGraphic">
          <ac:chgData name="FLAMENT, Bruno" userId="S::bruno.flament@capgemini.com::de63c4a3-01af-44ba-95bb-6f8fcaf1ef68" providerId="AD" clId="Web-{C5DB5609-12D5-4FDE-8A1A-988A1B103670}" dt="2020-09-23T14:51:32.921" v="310"/>
          <ac:graphicFrameMkLst>
            <pc:docMk/>
            <pc:sldMk cId="4125119786" sldId="353"/>
            <ac:graphicFrameMk id="14" creationId="{17E8FB3F-3D2C-4EBC-9CEB-BFFEADFC5E4A}"/>
          </ac:graphicFrameMkLst>
        </pc:graphicFrameChg>
        <pc:picChg chg="add del">
          <ac:chgData name="FLAMENT, Bruno" userId="S::bruno.flament@capgemini.com::de63c4a3-01af-44ba-95bb-6f8fcaf1ef68" providerId="AD" clId="Web-{C5DB5609-12D5-4FDE-8A1A-988A1B103670}" dt="2020-09-23T14:52:01.532" v="318"/>
          <ac:picMkLst>
            <pc:docMk/>
            <pc:sldMk cId="4125119786" sldId="353"/>
            <ac:picMk id="3" creationId="{562C7C93-BD1F-425C-9012-54A5732B779B}"/>
          </ac:picMkLst>
        </pc:picChg>
        <pc:picChg chg="add del">
          <ac:chgData name="FLAMENT, Bruno" userId="S::bruno.flament@capgemini.com::de63c4a3-01af-44ba-95bb-6f8fcaf1ef68" providerId="AD" clId="Web-{C5DB5609-12D5-4FDE-8A1A-988A1B103670}" dt="2020-09-23T14:52:00.282" v="316"/>
          <ac:picMkLst>
            <pc:docMk/>
            <pc:sldMk cId="4125119786" sldId="353"/>
            <ac:picMk id="7" creationId="{1339B346-3CD0-40EC-8646-64DE72BA9F26}"/>
          </ac:picMkLst>
        </pc:picChg>
        <pc:picChg chg="add del mod">
          <ac:chgData name="FLAMENT, Bruno" userId="S::bruno.flament@capgemini.com::de63c4a3-01af-44ba-95bb-6f8fcaf1ef68" providerId="AD" clId="Web-{C5DB5609-12D5-4FDE-8A1A-988A1B103670}" dt="2020-09-23T16:09:54.109" v="668"/>
          <ac:picMkLst>
            <pc:docMk/>
            <pc:sldMk cId="4125119786" sldId="353"/>
            <ac:picMk id="17" creationId="{5A3C5FBB-4DF5-4C94-B3A2-8A957CA2DFEE}"/>
          </ac:picMkLst>
        </pc:picChg>
        <pc:picChg chg="add mod">
          <ac:chgData name="FLAMENT, Bruno" userId="S::bruno.flament@capgemini.com::de63c4a3-01af-44ba-95bb-6f8fcaf1ef68" providerId="AD" clId="Web-{C5DB5609-12D5-4FDE-8A1A-988A1B103670}" dt="2020-09-23T16:28:19.776" v="824" actId="1076"/>
          <ac:picMkLst>
            <pc:docMk/>
            <pc:sldMk cId="4125119786" sldId="353"/>
            <ac:picMk id="20" creationId="{9776B441-C90F-4968-B6EF-082939E766C6}"/>
          </ac:picMkLst>
        </pc:picChg>
      </pc:sldChg>
      <pc:sldChg chg="addSp delSp modSp add replId">
        <pc:chgData name="FLAMENT, Bruno" userId="S::bruno.flament@capgemini.com::de63c4a3-01af-44ba-95bb-6f8fcaf1ef68" providerId="AD" clId="Web-{C5DB5609-12D5-4FDE-8A1A-988A1B103670}" dt="2020-09-23T16:33:48.048" v="889" actId="20577"/>
        <pc:sldMkLst>
          <pc:docMk/>
          <pc:sldMk cId="2280065488" sldId="354"/>
        </pc:sldMkLst>
        <pc:spChg chg="add mod">
          <ac:chgData name="FLAMENT, Bruno" userId="S::bruno.flament@capgemini.com::de63c4a3-01af-44ba-95bb-6f8fcaf1ef68" providerId="AD" clId="Web-{C5DB5609-12D5-4FDE-8A1A-988A1B103670}" dt="2020-09-23T16:33:48.048" v="889" actId="20577"/>
          <ac:spMkLst>
            <pc:docMk/>
            <pc:sldMk cId="2280065488" sldId="354"/>
            <ac:spMk id="2" creationId="{35CFA419-5752-4DCA-8A2D-B782F0E07A3F}"/>
          </ac:spMkLst>
        </pc:spChg>
        <pc:spChg chg="add mod">
          <ac:chgData name="FLAMENT, Bruno" userId="S::bruno.flament@capgemini.com::de63c4a3-01af-44ba-95bb-6f8fcaf1ef68" providerId="AD" clId="Web-{C5DB5609-12D5-4FDE-8A1A-988A1B103670}" dt="2020-09-23T16:31:56.869" v="876" actId="1076"/>
          <ac:spMkLst>
            <pc:docMk/>
            <pc:sldMk cId="2280065488" sldId="354"/>
            <ac:spMk id="3" creationId="{AC1618C5-8F62-41D8-8078-5080108BCE5F}"/>
          </ac:spMkLst>
        </pc:spChg>
        <pc:spChg chg="mod">
          <ac:chgData name="FLAMENT, Bruno" userId="S::bruno.flament@capgemini.com::de63c4a3-01af-44ba-95bb-6f8fcaf1ef68" providerId="AD" clId="Web-{C5DB5609-12D5-4FDE-8A1A-988A1B103670}" dt="2020-09-23T16:32:22.199" v="879" actId="1076"/>
          <ac:spMkLst>
            <pc:docMk/>
            <pc:sldMk cId="2280065488" sldId="354"/>
            <ac:spMk id="4" creationId="{2B0C00D4-C914-450C-AC3B-6390CF351EE8}"/>
          </ac:spMkLst>
        </pc:spChg>
        <pc:spChg chg="del">
          <ac:chgData name="FLAMENT, Bruno" userId="S::bruno.flament@capgemini.com::de63c4a3-01af-44ba-95bb-6f8fcaf1ef68" providerId="AD" clId="Web-{C5DB5609-12D5-4FDE-8A1A-988A1B103670}" dt="2020-09-23T15:34:13.216" v="542"/>
          <ac:spMkLst>
            <pc:docMk/>
            <pc:sldMk cId="2280065488" sldId="354"/>
            <ac:spMk id="13" creationId="{5C17025C-6934-4E49-8133-E3F18BDDFFED}"/>
          </ac:spMkLst>
        </pc:spChg>
      </pc:sldChg>
      <pc:sldChg chg="delSp modSp add del ord replId">
        <pc:chgData name="FLAMENT, Bruno" userId="S::bruno.flament@capgemini.com::de63c4a3-01af-44ba-95bb-6f8fcaf1ef68" providerId="AD" clId="Web-{C5DB5609-12D5-4FDE-8A1A-988A1B103670}" dt="2020-09-23T14:36:48.034" v="136"/>
        <pc:sldMkLst>
          <pc:docMk/>
          <pc:sldMk cId="3631382730" sldId="354"/>
        </pc:sldMkLst>
        <pc:spChg chg="del">
          <ac:chgData name="FLAMENT, Bruno" userId="S::bruno.flament@capgemini.com::de63c4a3-01af-44ba-95bb-6f8fcaf1ef68" providerId="AD" clId="Web-{C5DB5609-12D5-4FDE-8A1A-988A1B103670}" dt="2020-09-23T14:35:32.623" v="123"/>
          <ac:spMkLst>
            <pc:docMk/>
            <pc:sldMk cId="3631382730" sldId="354"/>
            <ac:spMk id="2" creationId="{0E5EEA90-C69A-4CC7-9868-56975D7B33FE}"/>
          </ac:spMkLst>
        </pc:spChg>
        <pc:spChg chg="mod">
          <ac:chgData name="FLAMENT, Bruno" userId="S::bruno.flament@capgemini.com::de63c4a3-01af-44ba-95bb-6f8fcaf1ef68" providerId="AD" clId="Web-{C5DB5609-12D5-4FDE-8A1A-988A1B103670}" dt="2020-09-23T14:35:28.982" v="122" actId="1076"/>
          <ac:spMkLst>
            <pc:docMk/>
            <pc:sldMk cId="3631382730" sldId="354"/>
            <ac:spMk id="5" creationId="{00000000-0000-0000-0000-000000000000}"/>
          </ac:spMkLst>
        </pc:spChg>
        <pc:picChg chg="del">
          <ac:chgData name="FLAMENT, Bruno" userId="S::bruno.flament@capgemini.com::de63c4a3-01af-44ba-95bb-6f8fcaf1ef68" providerId="AD" clId="Web-{C5DB5609-12D5-4FDE-8A1A-988A1B103670}" dt="2020-09-23T14:35:06.496" v="115"/>
          <ac:picMkLst>
            <pc:docMk/>
            <pc:sldMk cId="3631382730" sldId="354"/>
            <ac:picMk id="3" creationId="{28E14BAD-A55C-49B3-A34B-47EC4EDC0323}"/>
          </ac:picMkLst>
        </pc:picChg>
      </pc:sldChg>
      <pc:sldChg chg="addSp delSp modSp add replId">
        <pc:chgData name="FLAMENT, Bruno" userId="S::bruno.flament@capgemini.com::de63c4a3-01af-44ba-95bb-6f8fcaf1ef68" providerId="AD" clId="Web-{C5DB5609-12D5-4FDE-8A1A-988A1B103670}" dt="2020-09-23T16:40:31.309" v="936" actId="14100"/>
        <pc:sldMkLst>
          <pc:docMk/>
          <pc:sldMk cId="1002007057" sldId="355"/>
        </pc:sldMkLst>
        <pc:spChg chg="add mod">
          <ac:chgData name="FLAMENT, Bruno" userId="S::bruno.flament@capgemini.com::de63c4a3-01af-44ba-95bb-6f8fcaf1ef68" providerId="AD" clId="Web-{C5DB5609-12D5-4FDE-8A1A-988A1B103670}" dt="2020-09-23T16:32:08.182" v="878" actId="14100"/>
          <ac:spMkLst>
            <pc:docMk/>
            <pc:sldMk cId="1002007057" sldId="355"/>
            <ac:spMk id="2" creationId="{E9DCB1B9-AE77-4B50-9D7C-53F7A34270C5}"/>
          </ac:spMkLst>
        </pc:spChg>
        <pc:spChg chg="add mod">
          <ac:chgData name="FLAMENT, Bruno" userId="S::bruno.flament@capgemini.com::de63c4a3-01af-44ba-95bb-6f8fcaf1ef68" providerId="AD" clId="Web-{C5DB5609-12D5-4FDE-8A1A-988A1B103670}" dt="2020-09-23T16:40:31.309" v="936" actId="14100"/>
          <ac:spMkLst>
            <pc:docMk/>
            <pc:sldMk cId="1002007057" sldId="355"/>
            <ac:spMk id="3" creationId="{CC00414A-6D03-4937-9B84-39D244CE3CA0}"/>
          </ac:spMkLst>
        </pc:spChg>
        <pc:spChg chg="mod">
          <ac:chgData name="FLAMENT, Bruno" userId="S::bruno.flament@capgemini.com::de63c4a3-01af-44ba-95bb-6f8fcaf1ef68" providerId="AD" clId="Web-{C5DB5609-12D5-4FDE-8A1A-988A1B103670}" dt="2020-09-23T16:29:11.936" v="827" actId="20577"/>
          <ac:spMkLst>
            <pc:docMk/>
            <pc:sldMk cId="1002007057" sldId="355"/>
            <ac:spMk id="4" creationId="{2B0C00D4-C914-450C-AC3B-6390CF351EE8}"/>
          </ac:spMkLst>
        </pc:spChg>
        <pc:spChg chg="add del mod">
          <ac:chgData name="FLAMENT, Bruno" userId="S::bruno.flament@capgemini.com::de63c4a3-01af-44ba-95bb-6f8fcaf1ef68" providerId="AD" clId="Web-{C5DB5609-12D5-4FDE-8A1A-988A1B103670}" dt="2020-09-23T16:07:49.476" v="664"/>
          <ac:spMkLst>
            <pc:docMk/>
            <pc:sldMk cId="1002007057" sldId="355"/>
            <ac:spMk id="6" creationId="{5EF0AC12-9B12-4EC8-BABF-40973193A5CE}"/>
          </ac:spMkLst>
        </pc:spChg>
        <pc:spChg chg="del mod">
          <ac:chgData name="FLAMENT, Bruno" userId="S::bruno.flament@capgemini.com::de63c4a3-01af-44ba-95bb-6f8fcaf1ef68" providerId="AD" clId="Web-{C5DB5609-12D5-4FDE-8A1A-988A1B103670}" dt="2020-09-23T16:07:34.553" v="658"/>
          <ac:spMkLst>
            <pc:docMk/>
            <pc:sldMk cId="1002007057" sldId="355"/>
            <ac:spMk id="13" creationId="{5C17025C-6934-4E49-8133-E3F18BDDFFED}"/>
          </ac:spMkLst>
        </pc:spChg>
        <pc:picChg chg="add mod">
          <ac:chgData name="FLAMENT, Bruno" userId="S::bruno.flament@capgemini.com::de63c4a3-01af-44ba-95bb-6f8fcaf1ef68" providerId="AD" clId="Web-{C5DB5609-12D5-4FDE-8A1A-988A1B103670}" dt="2020-09-23T16:31:09.850" v="872" actId="1076"/>
          <ac:picMkLst>
            <pc:docMk/>
            <pc:sldMk cId="1002007057" sldId="355"/>
            <ac:picMk id="5" creationId="{B04BC7EA-183A-42EE-891B-3A3CADA3AE6A}"/>
          </ac:picMkLst>
        </pc:picChg>
      </pc:sldChg>
      <pc:sldChg chg="add del replId">
        <pc:chgData name="FLAMENT, Bruno" userId="S::bruno.flament@capgemini.com::de63c4a3-01af-44ba-95bb-6f8fcaf1ef68" providerId="AD" clId="Web-{C5DB5609-12D5-4FDE-8A1A-988A1B103670}" dt="2020-09-23T14:37:14.348" v="147"/>
        <pc:sldMkLst>
          <pc:docMk/>
          <pc:sldMk cId="2819966780" sldId="355"/>
        </pc:sldMkLst>
      </pc:sldChg>
      <pc:sldChg chg="add del replId">
        <pc:chgData name="FLAMENT, Bruno" userId="S::bruno.flament@capgemini.com::de63c4a3-01af-44ba-95bb-6f8fcaf1ef68" providerId="AD" clId="Web-{C5DB5609-12D5-4FDE-8A1A-988A1B103670}" dt="2020-09-23T14:37:09.285" v="145"/>
        <pc:sldMkLst>
          <pc:docMk/>
          <pc:sldMk cId="3341823110" sldId="356"/>
        </pc:sldMkLst>
      </pc:sldChg>
      <pc:sldChg chg="addSp delSp modSp add replId">
        <pc:chgData name="FLAMENT, Bruno" userId="S::bruno.flament@capgemini.com::de63c4a3-01af-44ba-95bb-6f8fcaf1ef68" providerId="AD" clId="Web-{C5DB5609-12D5-4FDE-8A1A-988A1B103670}" dt="2020-09-23T16:34:07.518" v="891" actId="14100"/>
        <pc:sldMkLst>
          <pc:docMk/>
          <pc:sldMk cId="3704272625" sldId="356"/>
        </pc:sldMkLst>
        <pc:spChg chg="add mod">
          <ac:chgData name="FLAMENT, Bruno" userId="S::bruno.flament@capgemini.com::de63c4a3-01af-44ba-95bb-6f8fcaf1ef68" providerId="AD" clId="Web-{C5DB5609-12D5-4FDE-8A1A-988A1B103670}" dt="2020-09-23T16:34:07.518" v="891" actId="14100"/>
          <ac:spMkLst>
            <pc:docMk/>
            <pc:sldMk cId="3704272625" sldId="356"/>
            <ac:spMk id="3" creationId="{2D26D7F3-4A95-494D-938C-91230B02ACC5}"/>
          </ac:spMkLst>
        </pc:spChg>
        <pc:spChg chg="mod">
          <ac:chgData name="FLAMENT, Bruno" userId="S::bruno.flament@capgemini.com::de63c4a3-01af-44ba-95bb-6f8fcaf1ef68" providerId="AD" clId="Web-{C5DB5609-12D5-4FDE-8A1A-988A1B103670}" dt="2020-09-23T16:32:32.574" v="880" actId="1076"/>
          <ac:spMkLst>
            <pc:docMk/>
            <pc:sldMk cId="3704272625" sldId="356"/>
            <ac:spMk id="4" creationId="{2B0C00D4-C914-450C-AC3B-6390CF351EE8}"/>
          </ac:spMkLst>
        </pc:spChg>
        <pc:graphicFrameChg chg="del mod modGraphic">
          <ac:chgData name="FLAMENT, Bruno" userId="S::bruno.flament@capgemini.com::de63c4a3-01af-44ba-95bb-6f8fcaf1ef68" providerId="AD" clId="Web-{C5DB5609-12D5-4FDE-8A1A-988A1B103670}" dt="2020-09-23T16:25:05.310" v="693"/>
          <ac:graphicFrameMkLst>
            <pc:docMk/>
            <pc:sldMk cId="3704272625" sldId="356"/>
            <ac:graphicFrameMk id="2" creationId="{BADB45D4-335C-4511-ACBA-6EAF4282C4B6}"/>
          </ac:graphicFrameMkLst>
        </pc:graphicFrameChg>
        <pc:graphicFrameChg chg="del">
          <ac:chgData name="FLAMENT, Bruno" userId="S::bruno.flament@capgemini.com::de63c4a3-01af-44ba-95bb-6f8fcaf1ef68" providerId="AD" clId="Web-{C5DB5609-12D5-4FDE-8A1A-988A1B103670}" dt="2020-09-23T16:25:04.201" v="692"/>
          <ac:graphicFrameMkLst>
            <pc:docMk/>
            <pc:sldMk cId="3704272625" sldId="356"/>
            <ac:graphicFrameMk id="14" creationId="{17E8FB3F-3D2C-4EBC-9CEB-BFFEADFC5E4A}"/>
          </ac:graphicFrameMkLst>
        </pc:graphicFrameChg>
      </pc:sldChg>
      <pc:sldChg chg="add del replId">
        <pc:chgData name="FLAMENT, Bruno" userId="S::bruno.flament@capgemini.com::de63c4a3-01af-44ba-95bb-6f8fcaf1ef68" providerId="AD" clId="Web-{C5DB5609-12D5-4FDE-8A1A-988A1B103670}" dt="2020-09-23T14:37:06.707" v="144"/>
        <pc:sldMkLst>
          <pc:docMk/>
          <pc:sldMk cId="606230310" sldId="357"/>
        </pc:sldMkLst>
      </pc:sldChg>
      <pc:sldChg chg="addSp delSp modSp add replId">
        <pc:chgData name="FLAMENT, Bruno" userId="S::bruno.flament@capgemini.com::de63c4a3-01af-44ba-95bb-6f8fcaf1ef68" providerId="AD" clId="Web-{C5DB5609-12D5-4FDE-8A1A-988A1B103670}" dt="2020-09-23T16:44:15.793" v="970" actId="20577"/>
        <pc:sldMkLst>
          <pc:docMk/>
          <pc:sldMk cId="1995015688" sldId="357"/>
        </pc:sldMkLst>
        <pc:spChg chg="del">
          <ac:chgData name="FLAMENT, Bruno" userId="S::bruno.flament@capgemini.com::de63c4a3-01af-44ba-95bb-6f8fcaf1ef68" providerId="AD" clId="Web-{C5DB5609-12D5-4FDE-8A1A-988A1B103670}" dt="2020-09-23T16:39:34.493" v="920"/>
          <ac:spMkLst>
            <pc:docMk/>
            <pc:sldMk cId="1995015688" sldId="357"/>
            <ac:spMk id="3" creationId="{CC00414A-6D03-4937-9B84-39D244CE3CA0}"/>
          </ac:spMkLst>
        </pc:spChg>
        <pc:spChg chg="mod">
          <ac:chgData name="FLAMENT, Bruno" userId="S::bruno.flament@capgemini.com::de63c4a3-01af-44ba-95bb-6f8fcaf1ef68" providerId="AD" clId="Web-{C5DB5609-12D5-4FDE-8A1A-988A1B103670}" dt="2020-09-23T16:39:31.868" v="919" actId="20577"/>
          <ac:spMkLst>
            <pc:docMk/>
            <pc:sldMk cId="1995015688" sldId="357"/>
            <ac:spMk id="4" creationId="{2B0C00D4-C914-450C-AC3B-6390CF351EE8}"/>
          </ac:spMkLst>
        </pc:spChg>
        <pc:spChg chg="add mod">
          <ac:chgData name="FLAMENT, Bruno" userId="S::bruno.flament@capgemini.com::de63c4a3-01af-44ba-95bb-6f8fcaf1ef68" providerId="AD" clId="Web-{C5DB5609-12D5-4FDE-8A1A-988A1B103670}" dt="2020-09-23T16:44:15.793" v="970" actId="20577"/>
          <ac:spMkLst>
            <pc:docMk/>
            <pc:sldMk cId="1995015688" sldId="357"/>
            <ac:spMk id="7" creationId="{2B543005-FC60-4D95-A2CC-8F386458CA67}"/>
          </ac:spMkLst>
        </pc:spChg>
        <pc:picChg chg="del">
          <ac:chgData name="FLAMENT, Bruno" userId="S::bruno.flament@capgemini.com::de63c4a3-01af-44ba-95bb-6f8fcaf1ef68" providerId="AD" clId="Web-{C5DB5609-12D5-4FDE-8A1A-988A1B103670}" dt="2020-09-23T16:39:35.305" v="921"/>
          <ac:picMkLst>
            <pc:docMk/>
            <pc:sldMk cId="1995015688" sldId="357"/>
            <ac:picMk id="5" creationId="{B04BC7EA-183A-42EE-891B-3A3CADA3AE6A}"/>
          </ac:picMkLst>
        </pc:picChg>
        <pc:picChg chg="add mod">
          <ac:chgData name="FLAMENT, Bruno" userId="S::bruno.flament@capgemini.com::de63c4a3-01af-44ba-95bb-6f8fcaf1ef68" providerId="AD" clId="Web-{C5DB5609-12D5-4FDE-8A1A-988A1B103670}" dt="2020-09-23T16:42:34.427" v="965" actId="1076"/>
          <ac:picMkLst>
            <pc:docMk/>
            <pc:sldMk cId="1995015688" sldId="357"/>
            <ac:picMk id="8" creationId="{AEBADD26-10B8-4DB2-A441-5EEC84A67542}"/>
          </ac:picMkLst>
        </pc:picChg>
      </pc:sldChg>
      <pc:sldChg chg="modSp add del replId">
        <pc:chgData name="FLAMENT, Bruno" userId="S::bruno.flament@capgemini.com::de63c4a3-01af-44ba-95bb-6f8fcaf1ef68" providerId="AD" clId="Web-{C5DB5609-12D5-4FDE-8A1A-988A1B103670}" dt="2020-09-23T14:37:24.989" v="148"/>
        <pc:sldMkLst>
          <pc:docMk/>
          <pc:sldMk cId="3529554052" sldId="358"/>
        </pc:sldMkLst>
        <pc:spChg chg="mod">
          <ac:chgData name="FLAMENT, Bruno" userId="S::bruno.flament@capgemini.com::de63c4a3-01af-44ba-95bb-6f8fcaf1ef68" providerId="AD" clId="Web-{C5DB5609-12D5-4FDE-8A1A-988A1B103670}" dt="2020-09-23T14:36:35.424" v="135" actId="1076"/>
          <ac:spMkLst>
            <pc:docMk/>
            <pc:sldMk cId="3529554052" sldId="358"/>
            <ac:spMk id="5" creationId="{00000000-0000-0000-0000-000000000000}"/>
          </ac:spMkLst>
        </pc:spChg>
      </pc:sldChg>
      <pc:sldChg chg="add del replId">
        <pc:chgData name="FLAMENT, Bruno" userId="S::bruno.flament@capgemini.com::de63c4a3-01af-44ba-95bb-6f8fcaf1ef68" providerId="AD" clId="Web-{C5DB5609-12D5-4FDE-8A1A-988A1B103670}" dt="2020-09-23T14:37:28.912" v="149"/>
        <pc:sldMkLst>
          <pc:docMk/>
          <pc:sldMk cId="2030303144" sldId="359"/>
        </pc:sldMkLst>
      </pc:sldChg>
      <pc:sldChg chg="delSp add del replId">
        <pc:chgData name="FLAMENT, Bruno" userId="S::bruno.flament@capgemini.com::de63c4a3-01af-44ba-95bb-6f8fcaf1ef68" providerId="AD" clId="Web-{C5DB5609-12D5-4FDE-8A1A-988A1B103670}" dt="2020-09-23T14:37:11.410" v="146"/>
        <pc:sldMkLst>
          <pc:docMk/>
          <pc:sldMk cId="1997596042" sldId="360"/>
        </pc:sldMkLst>
        <pc:spChg chg="del">
          <ac:chgData name="FLAMENT, Bruno" userId="S::bruno.flament@capgemini.com::de63c4a3-01af-44ba-95bb-6f8fcaf1ef68" providerId="AD" clId="Web-{C5DB5609-12D5-4FDE-8A1A-988A1B103670}" dt="2020-09-23T14:37:00.300" v="142"/>
          <ac:spMkLst>
            <pc:docMk/>
            <pc:sldMk cId="1997596042" sldId="360"/>
            <ac:spMk id="28" creationId="{364FE169-4B1E-46B3-A60D-6D662FAF7E14}"/>
          </ac:spMkLst>
        </pc:spChg>
        <pc:spChg chg="del">
          <ac:chgData name="FLAMENT, Bruno" userId="S::bruno.flament@capgemini.com::de63c4a3-01af-44ba-95bb-6f8fcaf1ef68" providerId="AD" clId="Web-{C5DB5609-12D5-4FDE-8A1A-988A1B103670}" dt="2020-09-23T14:37:01.472" v="143"/>
          <ac:spMkLst>
            <pc:docMk/>
            <pc:sldMk cId="1997596042" sldId="360"/>
            <ac:spMk id="30" creationId="{5F6B43DE-4A95-40C0-AF6F-5F6CC10D4C39}"/>
          </ac:spMkLst>
        </pc:spChg>
        <pc:spChg chg="del">
          <ac:chgData name="FLAMENT, Bruno" userId="S::bruno.flament@capgemini.com::de63c4a3-01af-44ba-95bb-6f8fcaf1ef68" providerId="AD" clId="Web-{C5DB5609-12D5-4FDE-8A1A-988A1B103670}" dt="2020-09-23T14:36:56.113" v="139"/>
          <ac:spMkLst>
            <pc:docMk/>
            <pc:sldMk cId="1997596042" sldId="360"/>
            <ac:spMk id="60" creationId="{00000000-0000-0000-0000-000000000000}"/>
          </ac:spMkLst>
        </pc:spChg>
        <pc:spChg chg="del">
          <ac:chgData name="FLAMENT, Bruno" userId="S::bruno.flament@capgemini.com::de63c4a3-01af-44ba-95bb-6f8fcaf1ef68" providerId="AD" clId="Web-{C5DB5609-12D5-4FDE-8A1A-988A1B103670}" dt="2020-09-23T14:36:54.753" v="138"/>
          <ac:spMkLst>
            <pc:docMk/>
            <pc:sldMk cId="1997596042" sldId="360"/>
            <ac:spMk id="65" creationId="{7FB3716E-9382-4C5B-89D8-7D3D309649B1}"/>
          </ac:spMkLst>
        </pc:spChg>
        <pc:spChg chg="del">
          <ac:chgData name="FLAMENT, Bruno" userId="S::bruno.flament@capgemini.com::de63c4a3-01af-44ba-95bb-6f8fcaf1ef68" providerId="AD" clId="Web-{C5DB5609-12D5-4FDE-8A1A-988A1B103670}" dt="2020-09-23T14:36:58.378" v="141"/>
          <ac:spMkLst>
            <pc:docMk/>
            <pc:sldMk cId="1997596042" sldId="360"/>
            <ac:spMk id="66" creationId="{E2F5E3C3-8C95-4F9C-8370-0A1C87237CA8}"/>
          </ac:spMkLst>
        </pc:spChg>
        <pc:picChg chg="del">
          <ac:chgData name="FLAMENT, Bruno" userId="S::bruno.flament@capgemini.com::de63c4a3-01af-44ba-95bb-6f8fcaf1ef68" providerId="AD" clId="Web-{C5DB5609-12D5-4FDE-8A1A-988A1B103670}" dt="2020-09-23T14:36:56.863" v="140"/>
          <ac:picMkLst>
            <pc:docMk/>
            <pc:sldMk cId="1997596042" sldId="360"/>
            <ac:picMk id="2" creationId="{1315B113-4E05-488D-AF3B-7003CED75A48}"/>
          </ac:picMkLst>
        </pc:picChg>
      </pc:sldChg>
    </pc:docChg>
  </pc:docChgLst>
  <pc:docChgLst>
    <pc:chgData name="FLAMENT, Bruno" userId="S::bruno.flament@capgemini.com::de63c4a3-01af-44ba-95bb-6f8fcaf1ef68" providerId="AD" clId="Web-{E6EB7E16-6A99-48BF-FDFC-9FE792CDD159}"/>
    <pc:docChg chg="addSld delSld modSld addMainMaster">
      <pc:chgData name="FLAMENT, Bruno" userId="S::bruno.flament@capgemini.com::de63c4a3-01af-44ba-95bb-6f8fcaf1ef68" providerId="AD" clId="Web-{E6EB7E16-6A99-48BF-FDFC-9FE792CDD159}" dt="2020-09-09T14:30:33.113" v="56" actId="1076"/>
      <pc:docMkLst>
        <pc:docMk/>
      </pc:docMkLst>
      <pc:sldChg chg="del">
        <pc:chgData name="FLAMENT, Bruno" userId="S::bruno.flament@capgemini.com::de63c4a3-01af-44ba-95bb-6f8fcaf1ef68" providerId="AD" clId="Web-{E6EB7E16-6A99-48BF-FDFC-9FE792CDD159}" dt="2020-09-09T14:23:21.499" v="15"/>
        <pc:sldMkLst>
          <pc:docMk/>
          <pc:sldMk cId="3843455302" sldId="314"/>
        </pc:sldMkLst>
      </pc:sldChg>
      <pc:sldChg chg="add">
        <pc:chgData name="FLAMENT, Bruno" userId="S::bruno.flament@capgemini.com::de63c4a3-01af-44ba-95bb-6f8fcaf1ef68" providerId="AD" clId="Web-{E6EB7E16-6A99-48BF-FDFC-9FE792CDD159}" dt="2020-09-09T13:00:11.379" v="0"/>
        <pc:sldMkLst>
          <pc:docMk/>
          <pc:sldMk cId="793218679" sldId="315"/>
        </pc:sldMkLst>
      </pc:sldChg>
      <pc:sldChg chg="add">
        <pc:chgData name="FLAMENT, Bruno" userId="S::bruno.flament@capgemini.com::de63c4a3-01af-44ba-95bb-6f8fcaf1ef68" providerId="AD" clId="Web-{E6EB7E16-6A99-48BF-FDFC-9FE792CDD159}" dt="2020-09-09T13:00:11.442" v="1"/>
        <pc:sldMkLst>
          <pc:docMk/>
          <pc:sldMk cId="4085779005" sldId="316"/>
        </pc:sldMkLst>
      </pc:sldChg>
      <pc:sldChg chg="add">
        <pc:chgData name="FLAMENT, Bruno" userId="S::bruno.flament@capgemini.com::de63c4a3-01af-44ba-95bb-6f8fcaf1ef68" providerId="AD" clId="Web-{E6EB7E16-6A99-48BF-FDFC-9FE792CDD159}" dt="2020-09-09T13:00:11.661" v="2"/>
        <pc:sldMkLst>
          <pc:docMk/>
          <pc:sldMk cId="2430344171" sldId="317"/>
        </pc:sldMkLst>
      </pc:sldChg>
      <pc:sldChg chg="add">
        <pc:chgData name="FLAMENT, Bruno" userId="S::bruno.flament@capgemini.com::de63c4a3-01af-44ba-95bb-6f8fcaf1ef68" providerId="AD" clId="Web-{E6EB7E16-6A99-48BF-FDFC-9FE792CDD159}" dt="2020-09-09T13:00:11.833" v="3"/>
        <pc:sldMkLst>
          <pc:docMk/>
          <pc:sldMk cId="3289766764" sldId="318"/>
        </pc:sldMkLst>
      </pc:sldChg>
      <pc:sldChg chg="add">
        <pc:chgData name="FLAMENT, Bruno" userId="S::bruno.flament@capgemini.com::de63c4a3-01af-44ba-95bb-6f8fcaf1ef68" providerId="AD" clId="Web-{E6EB7E16-6A99-48BF-FDFC-9FE792CDD159}" dt="2020-09-09T13:00:11.989" v="4"/>
        <pc:sldMkLst>
          <pc:docMk/>
          <pc:sldMk cId="3523231711" sldId="319"/>
        </pc:sldMkLst>
      </pc:sldChg>
      <pc:sldChg chg="add">
        <pc:chgData name="FLAMENT, Bruno" userId="S::bruno.flament@capgemini.com::de63c4a3-01af-44ba-95bb-6f8fcaf1ef68" providerId="AD" clId="Web-{E6EB7E16-6A99-48BF-FDFC-9FE792CDD159}" dt="2020-09-09T13:00:12.192" v="5"/>
        <pc:sldMkLst>
          <pc:docMk/>
          <pc:sldMk cId="352247274" sldId="320"/>
        </pc:sldMkLst>
      </pc:sldChg>
      <pc:sldChg chg="add">
        <pc:chgData name="FLAMENT, Bruno" userId="S::bruno.flament@capgemini.com::de63c4a3-01af-44ba-95bb-6f8fcaf1ef68" providerId="AD" clId="Web-{E6EB7E16-6A99-48BF-FDFC-9FE792CDD159}" dt="2020-09-09T13:00:12.520" v="6"/>
        <pc:sldMkLst>
          <pc:docMk/>
          <pc:sldMk cId="2490784014" sldId="321"/>
        </pc:sldMkLst>
      </pc:sldChg>
      <pc:sldChg chg="add">
        <pc:chgData name="FLAMENT, Bruno" userId="S::bruno.flament@capgemini.com::de63c4a3-01af-44ba-95bb-6f8fcaf1ef68" providerId="AD" clId="Web-{E6EB7E16-6A99-48BF-FDFC-9FE792CDD159}" dt="2020-09-09T13:00:12.708" v="7"/>
        <pc:sldMkLst>
          <pc:docMk/>
          <pc:sldMk cId="3222310991" sldId="322"/>
        </pc:sldMkLst>
      </pc:sldChg>
      <pc:sldChg chg="addSp delSp modSp add">
        <pc:chgData name="FLAMENT, Bruno" userId="S::bruno.flament@capgemini.com::de63c4a3-01af-44ba-95bb-6f8fcaf1ef68" providerId="AD" clId="Web-{E6EB7E16-6A99-48BF-FDFC-9FE792CDD159}" dt="2020-09-09T14:30:33.113" v="56" actId="1076"/>
        <pc:sldMkLst>
          <pc:docMk/>
          <pc:sldMk cId="2099408550" sldId="323"/>
        </pc:sldMkLst>
        <pc:picChg chg="add mod">
          <ac:chgData name="FLAMENT, Bruno" userId="S::bruno.flament@capgemini.com::de63c4a3-01af-44ba-95bb-6f8fcaf1ef68" providerId="AD" clId="Web-{E6EB7E16-6A99-48BF-FDFC-9FE792CDD159}" dt="2020-09-09T14:30:33.113" v="56" actId="1076"/>
          <ac:picMkLst>
            <pc:docMk/>
            <pc:sldMk cId="2099408550" sldId="323"/>
            <ac:picMk id="2" creationId="{67FC295B-6DC1-4B0B-90BC-2DFC1ED5B423}"/>
          </ac:picMkLst>
        </pc:picChg>
        <pc:picChg chg="del mod">
          <ac:chgData name="FLAMENT, Bruno" userId="S::bruno.flament@capgemini.com::de63c4a3-01af-44ba-95bb-6f8fcaf1ef68" providerId="AD" clId="Web-{E6EB7E16-6A99-48BF-FDFC-9FE792CDD159}" dt="2020-09-09T14:29:57.847" v="53"/>
          <ac:picMkLst>
            <pc:docMk/>
            <pc:sldMk cId="2099408550" sldId="323"/>
            <ac:picMk id="96" creationId="{00000000-0000-0000-0000-000000000000}"/>
          </ac:picMkLst>
        </pc:picChg>
      </pc:sldChg>
      <pc:sldChg chg="add">
        <pc:chgData name="FLAMENT, Bruno" userId="S::bruno.flament@capgemini.com::de63c4a3-01af-44ba-95bb-6f8fcaf1ef68" providerId="AD" clId="Web-{E6EB7E16-6A99-48BF-FDFC-9FE792CDD159}" dt="2020-09-09T13:00:13.051" v="9"/>
        <pc:sldMkLst>
          <pc:docMk/>
          <pc:sldMk cId="2660931233" sldId="324"/>
        </pc:sldMkLst>
      </pc:sldChg>
      <pc:sldChg chg="add">
        <pc:chgData name="FLAMENT, Bruno" userId="S::bruno.flament@capgemini.com::de63c4a3-01af-44ba-95bb-6f8fcaf1ef68" providerId="AD" clId="Web-{E6EB7E16-6A99-48BF-FDFC-9FE792CDD159}" dt="2020-09-09T13:00:13.520" v="10"/>
        <pc:sldMkLst>
          <pc:docMk/>
          <pc:sldMk cId="997975158" sldId="325"/>
        </pc:sldMkLst>
      </pc:sldChg>
      <pc:sldChg chg="add">
        <pc:chgData name="FLAMENT, Bruno" userId="S::bruno.flament@capgemini.com::de63c4a3-01af-44ba-95bb-6f8fcaf1ef68" providerId="AD" clId="Web-{E6EB7E16-6A99-48BF-FDFC-9FE792CDD159}" dt="2020-09-09T13:00:13.598" v="11"/>
        <pc:sldMkLst>
          <pc:docMk/>
          <pc:sldMk cId="2597213475" sldId="326"/>
        </pc:sldMkLst>
      </pc:sldChg>
      <pc:sldChg chg="delSp modSp add">
        <pc:chgData name="FLAMENT, Bruno" userId="S::bruno.flament@capgemini.com::de63c4a3-01af-44ba-95bb-6f8fcaf1ef68" providerId="AD" clId="Web-{E6EB7E16-6A99-48BF-FDFC-9FE792CDD159}" dt="2020-09-09T14:26:07.454" v="51"/>
        <pc:sldMkLst>
          <pc:docMk/>
          <pc:sldMk cId="2029459997" sldId="327"/>
        </pc:sldMkLst>
        <pc:spChg chg="del mod">
          <ac:chgData name="FLAMENT, Bruno" userId="S::bruno.flament@capgemini.com::de63c4a3-01af-44ba-95bb-6f8fcaf1ef68" providerId="AD" clId="Web-{E6EB7E16-6A99-48BF-FDFC-9FE792CDD159}" dt="2020-09-09T14:26:07.454" v="51"/>
          <ac:spMkLst>
            <pc:docMk/>
            <pc:sldMk cId="2029459997" sldId="327"/>
            <ac:spMk id="60" creationId="{00000000-0000-0000-0000-000000000000}"/>
          </ac:spMkLst>
        </pc:spChg>
      </pc:sldChg>
      <pc:sldChg chg="add del">
        <pc:chgData name="FLAMENT, Bruno" userId="S::bruno.flament@capgemini.com::de63c4a3-01af-44ba-95bb-6f8fcaf1ef68" providerId="AD" clId="Web-{E6EB7E16-6A99-48BF-FDFC-9FE792CDD159}" dt="2020-09-09T14:24:05.219" v="47"/>
        <pc:sldMkLst>
          <pc:docMk/>
          <pc:sldMk cId="2446168819" sldId="328"/>
        </pc:sldMkLst>
      </pc:sldChg>
      <pc:sldChg chg="del">
        <pc:chgData name="FLAMENT, Bruno" userId="S::bruno.flament@capgemini.com::de63c4a3-01af-44ba-95bb-6f8fcaf1ef68" providerId="AD" clId="Web-{E6EB7E16-6A99-48BF-FDFC-9FE792CDD159}" dt="2020-09-09T14:24:13.140" v="48"/>
        <pc:sldMkLst>
          <pc:docMk/>
          <pc:sldMk cId="3525475379" sldId="329"/>
        </pc:sldMkLst>
      </pc:sldChg>
      <pc:sldChg chg="modSp add replId">
        <pc:chgData name="FLAMENT, Bruno" userId="S::bruno.flament@capgemini.com::de63c4a3-01af-44ba-95bb-6f8fcaf1ef68" providerId="AD" clId="Web-{E6EB7E16-6A99-48BF-FDFC-9FE792CDD159}" dt="2020-09-09T14:23:46.171" v="46" actId="20577"/>
        <pc:sldMkLst>
          <pc:docMk/>
          <pc:sldMk cId="3746705426" sldId="330"/>
        </pc:sldMkLst>
        <pc:spChg chg="mod">
          <ac:chgData name="FLAMENT, Bruno" userId="S::bruno.flament@capgemini.com::de63c4a3-01af-44ba-95bb-6f8fcaf1ef68" providerId="AD" clId="Web-{E6EB7E16-6A99-48BF-FDFC-9FE792CDD159}" dt="2020-09-09T14:23:46.171" v="46" actId="20577"/>
          <ac:spMkLst>
            <pc:docMk/>
            <pc:sldMk cId="3746705426" sldId="330"/>
            <ac:spMk id="3" creationId="{94877C5B-2323-400F-95CE-6C47F22676F5}"/>
          </ac:spMkLst>
        </pc:spChg>
      </pc:sldChg>
      <pc:sldMasterChg chg="add addSldLayout">
        <pc:chgData name="FLAMENT, Bruno" userId="S::bruno.flament@capgemini.com::de63c4a3-01af-44ba-95bb-6f8fcaf1ef68" providerId="AD" clId="Web-{E6EB7E16-6A99-48BF-FDFC-9FE792CDD159}" dt="2020-09-09T13:00:11.379" v="0"/>
        <pc:sldMasterMkLst>
          <pc:docMk/>
          <pc:sldMasterMk cId="1673812633" sldId="2147483696"/>
        </pc:sldMasterMkLst>
        <pc:sldLayoutChg chg="add">
          <pc:chgData name="FLAMENT, Bruno" userId="S::bruno.flament@capgemini.com::de63c4a3-01af-44ba-95bb-6f8fcaf1ef68" providerId="AD" clId="Web-{E6EB7E16-6A99-48BF-FDFC-9FE792CDD159}" dt="2020-09-09T13:00:11.379" v="0"/>
          <pc:sldLayoutMkLst>
            <pc:docMk/>
            <pc:sldMasterMk cId="1673812633" sldId="2147483696"/>
            <pc:sldLayoutMk cId="4136358419" sldId="2147483697"/>
          </pc:sldLayoutMkLst>
        </pc:sldLayoutChg>
        <pc:sldLayoutChg chg="add">
          <pc:chgData name="FLAMENT, Bruno" userId="S::bruno.flament@capgemini.com::de63c4a3-01af-44ba-95bb-6f8fcaf1ef68" providerId="AD" clId="Web-{E6EB7E16-6A99-48BF-FDFC-9FE792CDD159}" dt="2020-09-09T13:00:11.379" v="0"/>
          <pc:sldLayoutMkLst>
            <pc:docMk/>
            <pc:sldMasterMk cId="1673812633" sldId="2147483696"/>
            <pc:sldLayoutMk cId="2470466143" sldId="2147483698"/>
          </pc:sldLayoutMkLst>
        </pc:sldLayoutChg>
        <pc:sldLayoutChg chg="add">
          <pc:chgData name="FLAMENT, Bruno" userId="S::bruno.flament@capgemini.com::de63c4a3-01af-44ba-95bb-6f8fcaf1ef68" providerId="AD" clId="Web-{E6EB7E16-6A99-48BF-FDFC-9FE792CDD159}" dt="2020-09-09T13:00:11.379" v="0"/>
          <pc:sldLayoutMkLst>
            <pc:docMk/>
            <pc:sldMasterMk cId="1673812633" sldId="2147483696"/>
            <pc:sldLayoutMk cId="492852495" sldId="2147483699"/>
          </pc:sldLayoutMkLst>
        </pc:sldLayoutChg>
        <pc:sldLayoutChg chg="add">
          <pc:chgData name="FLAMENT, Bruno" userId="S::bruno.flament@capgemini.com::de63c4a3-01af-44ba-95bb-6f8fcaf1ef68" providerId="AD" clId="Web-{E6EB7E16-6A99-48BF-FDFC-9FE792CDD159}" dt="2020-09-09T13:00:11.379" v="0"/>
          <pc:sldLayoutMkLst>
            <pc:docMk/>
            <pc:sldMasterMk cId="1673812633" sldId="2147483696"/>
            <pc:sldLayoutMk cId="2780650734" sldId="2147483700"/>
          </pc:sldLayoutMkLst>
        </pc:sldLayoutChg>
        <pc:sldLayoutChg chg="add">
          <pc:chgData name="FLAMENT, Bruno" userId="S::bruno.flament@capgemini.com::de63c4a3-01af-44ba-95bb-6f8fcaf1ef68" providerId="AD" clId="Web-{E6EB7E16-6A99-48BF-FDFC-9FE792CDD159}" dt="2020-09-09T13:00:11.379" v="0"/>
          <pc:sldLayoutMkLst>
            <pc:docMk/>
            <pc:sldMasterMk cId="1673812633" sldId="2147483696"/>
            <pc:sldLayoutMk cId="517233175" sldId="2147483701"/>
          </pc:sldLayoutMkLst>
        </pc:sldLayoutChg>
        <pc:sldLayoutChg chg="add">
          <pc:chgData name="FLAMENT, Bruno" userId="S::bruno.flament@capgemini.com::de63c4a3-01af-44ba-95bb-6f8fcaf1ef68" providerId="AD" clId="Web-{E6EB7E16-6A99-48BF-FDFC-9FE792CDD159}" dt="2020-09-09T13:00:11.379" v="0"/>
          <pc:sldLayoutMkLst>
            <pc:docMk/>
            <pc:sldMasterMk cId="1673812633" sldId="2147483696"/>
            <pc:sldLayoutMk cId="3079232239" sldId="2147483702"/>
          </pc:sldLayoutMkLst>
        </pc:sldLayoutChg>
        <pc:sldLayoutChg chg="add">
          <pc:chgData name="FLAMENT, Bruno" userId="S::bruno.flament@capgemini.com::de63c4a3-01af-44ba-95bb-6f8fcaf1ef68" providerId="AD" clId="Web-{E6EB7E16-6A99-48BF-FDFC-9FE792CDD159}" dt="2020-09-09T13:00:11.379" v="0"/>
          <pc:sldLayoutMkLst>
            <pc:docMk/>
            <pc:sldMasterMk cId="1673812633" sldId="2147483696"/>
            <pc:sldLayoutMk cId="455109393" sldId="2147483703"/>
          </pc:sldLayoutMkLst>
        </pc:sldLayoutChg>
        <pc:sldLayoutChg chg="add">
          <pc:chgData name="FLAMENT, Bruno" userId="S::bruno.flament@capgemini.com::de63c4a3-01af-44ba-95bb-6f8fcaf1ef68" providerId="AD" clId="Web-{E6EB7E16-6A99-48BF-FDFC-9FE792CDD159}" dt="2020-09-09T13:00:11.379" v="0"/>
          <pc:sldLayoutMkLst>
            <pc:docMk/>
            <pc:sldMasterMk cId="1673812633" sldId="2147483696"/>
            <pc:sldLayoutMk cId="228774535" sldId="2147483704"/>
          </pc:sldLayoutMkLst>
        </pc:sldLayoutChg>
        <pc:sldLayoutChg chg="add">
          <pc:chgData name="FLAMENT, Bruno" userId="S::bruno.flament@capgemini.com::de63c4a3-01af-44ba-95bb-6f8fcaf1ef68" providerId="AD" clId="Web-{E6EB7E16-6A99-48BF-FDFC-9FE792CDD159}" dt="2020-09-09T13:00:11.379" v="0"/>
          <pc:sldLayoutMkLst>
            <pc:docMk/>
            <pc:sldMasterMk cId="1673812633" sldId="2147483696"/>
            <pc:sldLayoutMk cId="1862835570" sldId="2147483705"/>
          </pc:sldLayoutMkLst>
        </pc:sldLayoutChg>
        <pc:sldLayoutChg chg="add">
          <pc:chgData name="FLAMENT, Bruno" userId="S::bruno.flament@capgemini.com::de63c4a3-01af-44ba-95bb-6f8fcaf1ef68" providerId="AD" clId="Web-{E6EB7E16-6A99-48BF-FDFC-9FE792CDD159}" dt="2020-09-09T13:00:11.379" v="0"/>
          <pc:sldLayoutMkLst>
            <pc:docMk/>
            <pc:sldMasterMk cId="1673812633" sldId="2147483696"/>
            <pc:sldLayoutMk cId="1555273862" sldId="2147483706"/>
          </pc:sldLayoutMkLst>
        </pc:sldLayoutChg>
        <pc:sldLayoutChg chg="add">
          <pc:chgData name="FLAMENT, Bruno" userId="S::bruno.flament@capgemini.com::de63c4a3-01af-44ba-95bb-6f8fcaf1ef68" providerId="AD" clId="Web-{E6EB7E16-6A99-48BF-FDFC-9FE792CDD159}" dt="2020-09-09T13:00:11.379" v="0"/>
          <pc:sldLayoutMkLst>
            <pc:docMk/>
            <pc:sldMasterMk cId="1673812633" sldId="2147483696"/>
            <pc:sldLayoutMk cId="3254376490" sldId="2147483707"/>
          </pc:sldLayoutMkLst>
        </pc:sldLayoutChg>
        <pc:sldLayoutChg chg="add">
          <pc:chgData name="FLAMENT, Bruno" userId="S::bruno.flament@capgemini.com::de63c4a3-01af-44ba-95bb-6f8fcaf1ef68" providerId="AD" clId="Web-{E6EB7E16-6A99-48BF-FDFC-9FE792CDD159}" dt="2020-09-09T13:00:11.379" v="0"/>
          <pc:sldLayoutMkLst>
            <pc:docMk/>
            <pc:sldMasterMk cId="1673812633" sldId="2147483696"/>
            <pc:sldLayoutMk cId="3388332499" sldId="2147483708"/>
          </pc:sldLayoutMkLst>
        </pc:sldLayoutChg>
      </pc:sldMasterChg>
    </pc:docChg>
  </pc:docChgLst>
  <pc:docChgLst>
    <pc:chgData name="FLAMENT, Bruno" userId="S::bruno.flament@capgemini.com::de63c4a3-01af-44ba-95bb-6f8fcaf1ef68" providerId="AD" clId="Web-{E5566D78-D18F-49BD-AE4E-4DD74C1ACFDF}"/>
    <pc:docChg chg="addSld modSld sldOrd">
      <pc:chgData name="FLAMENT, Bruno" userId="S::bruno.flament@capgemini.com::de63c4a3-01af-44ba-95bb-6f8fcaf1ef68" providerId="AD" clId="Web-{E5566D78-D18F-49BD-AE4E-4DD74C1ACFDF}" dt="2020-09-23T10:20:40.916" v="64" actId="1076"/>
      <pc:docMkLst>
        <pc:docMk/>
      </pc:docMkLst>
      <pc:sldChg chg="modSp">
        <pc:chgData name="FLAMENT, Bruno" userId="S::bruno.flament@capgemini.com::de63c4a3-01af-44ba-95bb-6f8fcaf1ef68" providerId="AD" clId="Web-{E5566D78-D18F-49BD-AE4E-4DD74C1ACFDF}" dt="2020-09-23T10:18:49.940" v="43" actId="1076"/>
        <pc:sldMkLst>
          <pc:docMk/>
          <pc:sldMk cId="3746705426" sldId="330"/>
        </pc:sldMkLst>
        <pc:spChg chg="mod">
          <ac:chgData name="FLAMENT, Bruno" userId="S::bruno.flament@capgemini.com::de63c4a3-01af-44ba-95bb-6f8fcaf1ef68" providerId="AD" clId="Web-{E5566D78-D18F-49BD-AE4E-4DD74C1ACFDF}" dt="2020-09-23T10:18:49.940" v="43" actId="1076"/>
          <ac:spMkLst>
            <pc:docMk/>
            <pc:sldMk cId="3746705426" sldId="330"/>
            <ac:spMk id="3" creationId="{94877C5B-2323-400F-95CE-6C47F22676F5}"/>
          </ac:spMkLst>
        </pc:spChg>
      </pc:sldChg>
      <pc:sldChg chg="modSp">
        <pc:chgData name="FLAMENT, Bruno" userId="S::bruno.flament@capgemini.com::de63c4a3-01af-44ba-95bb-6f8fcaf1ef68" providerId="AD" clId="Web-{E5566D78-D18F-49BD-AE4E-4DD74C1ACFDF}" dt="2020-09-23T10:20:15.274" v="62" actId="1076"/>
        <pc:sldMkLst>
          <pc:docMk/>
          <pc:sldMk cId="3749144415" sldId="333"/>
        </pc:sldMkLst>
        <pc:spChg chg="mod">
          <ac:chgData name="FLAMENT, Bruno" userId="S::bruno.flament@capgemini.com::de63c4a3-01af-44ba-95bb-6f8fcaf1ef68" providerId="AD" clId="Web-{E5566D78-D18F-49BD-AE4E-4DD74C1ACFDF}" dt="2020-09-23T10:20:05.711" v="60" actId="1076"/>
          <ac:spMkLst>
            <pc:docMk/>
            <pc:sldMk cId="3749144415" sldId="333"/>
            <ac:spMk id="5" creationId="{FA564DA2-F6C3-4317-B6E1-F83A45876CF4}"/>
          </ac:spMkLst>
        </pc:spChg>
        <pc:spChg chg="mod">
          <ac:chgData name="FLAMENT, Bruno" userId="S::bruno.flament@capgemini.com::de63c4a3-01af-44ba-95bb-6f8fcaf1ef68" providerId="AD" clId="Web-{E5566D78-D18F-49BD-AE4E-4DD74C1ACFDF}" dt="2020-09-23T10:20:15.274" v="62" actId="1076"/>
          <ac:spMkLst>
            <pc:docMk/>
            <pc:sldMk cId="3749144415" sldId="333"/>
            <ac:spMk id="13" creationId="{65DCBDD0-A8B8-44E5-8BFA-EB5CA7BBF516}"/>
          </ac:spMkLst>
        </pc:spChg>
      </pc:sldChg>
      <pc:sldChg chg="modSp">
        <pc:chgData name="FLAMENT, Bruno" userId="S::bruno.flament@capgemini.com::de63c4a3-01af-44ba-95bb-6f8fcaf1ef68" providerId="AD" clId="Web-{E5566D78-D18F-49BD-AE4E-4DD74C1ACFDF}" dt="2020-09-23T10:20:40.916" v="64" actId="1076"/>
        <pc:sldMkLst>
          <pc:docMk/>
          <pc:sldMk cId="3581971898" sldId="339"/>
        </pc:sldMkLst>
        <pc:picChg chg="mod">
          <ac:chgData name="FLAMENT, Bruno" userId="S::bruno.flament@capgemini.com::de63c4a3-01af-44ba-95bb-6f8fcaf1ef68" providerId="AD" clId="Web-{E5566D78-D18F-49BD-AE4E-4DD74C1ACFDF}" dt="2020-09-23T10:20:40.916" v="64" actId="1076"/>
          <ac:picMkLst>
            <pc:docMk/>
            <pc:sldMk cId="3581971898" sldId="339"/>
            <ac:picMk id="6" creationId="{D4F690B4-086B-442F-9449-52D2AEE882F3}"/>
          </ac:picMkLst>
        </pc:picChg>
      </pc:sldChg>
      <pc:sldChg chg="delSp new ord">
        <pc:chgData name="FLAMENT, Bruno" userId="S::bruno.flament@capgemini.com::de63c4a3-01af-44ba-95bb-6f8fcaf1ef68" providerId="AD" clId="Web-{E5566D78-D18F-49BD-AE4E-4DD74C1ACFDF}" dt="2020-09-23T10:19:07.848" v="49"/>
        <pc:sldMkLst>
          <pc:docMk/>
          <pc:sldMk cId="2971435463" sldId="342"/>
        </pc:sldMkLst>
        <pc:spChg chg="del">
          <ac:chgData name="FLAMENT, Bruno" userId="S::bruno.flament@capgemini.com::de63c4a3-01af-44ba-95bb-6f8fcaf1ef68" providerId="AD" clId="Web-{E5566D78-D18F-49BD-AE4E-4DD74C1ACFDF}" dt="2020-09-23T10:19:06.941" v="48"/>
          <ac:spMkLst>
            <pc:docMk/>
            <pc:sldMk cId="2971435463" sldId="342"/>
            <ac:spMk id="2" creationId="{0C0C7E73-4883-4572-A3CE-772B59554CF0}"/>
          </ac:spMkLst>
        </pc:spChg>
        <pc:spChg chg="del">
          <ac:chgData name="FLAMENT, Bruno" userId="S::bruno.flament@capgemini.com::de63c4a3-01af-44ba-95bb-6f8fcaf1ef68" providerId="AD" clId="Web-{E5566D78-D18F-49BD-AE4E-4DD74C1ACFDF}" dt="2020-09-23T10:19:03.129" v="46"/>
          <ac:spMkLst>
            <pc:docMk/>
            <pc:sldMk cId="2971435463" sldId="342"/>
            <ac:spMk id="3" creationId="{A117AF0C-C35F-443C-8C6A-A27E36179791}"/>
          </ac:spMkLst>
        </pc:spChg>
        <pc:spChg chg="del">
          <ac:chgData name="FLAMENT, Bruno" userId="S::bruno.flament@capgemini.com::de63c4a3-01af-44ba-95bb-6f8fcaf1ef68" providerId="AD" clId="Web-{E5566D78-D18F-49BD-AE4E-4DD74C1ACFDF}" dt="2020-09-23T10:19:04.363" v="47"/>
          <ac:spMkLst>
            <pc:docMk/>
            <pc:sldMk cId="2971435463" sldId="342"/>
            <ac:spMk id="4" creationId="{AA0BADFA-D08E-464C-9357-C1CE0656E7FC}"/>
          </ac:spMkLst>
        </pc:spChg>
        <pc:spChg chg="del">
          <ac:chgData name="FLAMENT, Bruno" userId="S::bruno.flament@capgemini.com::de63c4a3-01af-44ba-95bb-6f8fcaf1ef68" providerId="AD" clId="Web-{E5566D78-D18F-49BD-AE4E-4DD74C1ACFDF}" dt="2020-09-23T10:19:07.848" v="49"/>
          <ac:spMkLst>
            <pc:docMk/>
            <pc:sldMk cId="2971435463" sldId="342"/>
            <ac:spMk id="5" creationId="{295184EF-027F-40CA-B932-9384767992F3}"/>
          </ac:spMkLst>
        </pc:spChg>
      </pc:sldChg>
    </pc:docChg>
  </pc:docChgLst>
  <pc:docChgLst>
    <pc:chgData name="FLAMENT, Bruno" userId="S::bruno.flament@capgemini.com::de63c4a3-01af-44ba-95bb-6f8fcaf1ef68" providerId="AD" clId="Web-{8FDD5686-B3D9-4EAD-8B4E-A6EA83ECCAA7}"/>
    <pc:docChg chg="addSld delSld modSld sldOrd">
      <pc:chgData name="FLAMENT, Bruno" userId="S::bruno.flament@capgemini.com::de63c4a3-01af-44ba-95bb-6f8fcaf1ef68" providerId="AD" clId="Web-{8FDD5686-B3D9-4EAD-8B4E-A6EA83ECCAA7}" dt="2020-09-23T08:52:51.746" v="861"/>
      <pc:docMkLst>
        <pc:docMk/>
      </pc:docMkLst>
      <pc:sldChg chg="modSp">
        <pc:chgData name="FLAMENT, Bruno" userId="S::bruno.flament@capgemini.com::de63c4a3-01af-44ba-95bb-6f8fcaf1ef68" providerId="AD" clId="Web-{8FDD5686-B3D9-4EAD-8B4E-A6EA83ECCAA7}" dt="2020-09-23T07:14:49.246" v="4" actId="20577"/>
        <pc:sldMkLst>
          <pc:docMk/>
          <pc:sldMk cId="793218679" sldId="315"/>
        </pc:sldMkLst>
        <pc:spChg chg="mod">
          <ac:chgData name="FLAMENT, Bruno" userId="S::bruno.flament@capgemini.com::de63c4a3-01af-44ba-95bb-6f8fcaf1ef68" providerId="AD" clId="Web-{8FDD5686-B3D9-4EAD-8B4E-A6EA83ECCAA7}" dt="2020-09-23T07:14:49.246" v="4" actId="20577"/>
          <ac:spMkLst>
            <pc:docMk/>
            <pc:sldMk cId="793218679" sldId="315"/>
            <ac:spMk id="3" creationId="{52F6A2F5-8B1D-4FB1-B760-82A1ADFFD8B9}"/>
          </ac:spMkLst>
        </pc:spChg>
      </pc:sldChg>
      <pc:sldChg chg="modSp">
        <pc:chgData name="FLAMENT, Bruno" userId="S::bruno.flament@capgemini.com::de63c4a3-01af-44ba-95bb-6f8fcaf1ef68" providerId="AD" clId="Web-{8FDD5686-B3D9-4EAD-8B4E-A6EA83ECCAA7}" dt="2020-09-23T07:29:47.792" v="19" actId="20577"/>
        <pc:sldMkLst>
          <pc:docMk/>
          <pc:sldMk cId="3289766764" sldId="318"/>
        </pc:sldMkLst>
        <pc:spChg chg="mod">
          <ac:chgData name="FLAMENT, Bruno" userId="S::bruno.flament@capgemini.com::de63c4a3-01af-44ba-95bb-6f8fcaf1ef68" providerId="AD" clId="Web-{8FDD5686-B3D9-4EAD-8B4E-A6EA83ECCAA7}" dt="2020-09-23T07:29:47.792" v="19" actId="20577"/>
          <ac:spMkLst>
            <pc:docMk/>
            <pc:sldMk cId="3289766764" sldId="318"/>
            <ac:spMk id="129" creationId="{00000000-0000-0000-0000-000000000000}"/>
          </ac:spMkLst>
        </pc:spChg>
      </pc:sldChg>
      <pc:sldChg chg="del">
        <pc:chgData name="FLAMENT, Bruno" userId="S::bruno.flament@capgemini.com::de63c4a3-01af-44ba-95bb-6f8fcaf1ef68" providerId="AD" clId="Web-{8FDD5686-B3D9-4EAD-8B4E-A6EA83ECCAA7}" dt="2020-09-23T07:28:43.557" v="6"/>
        <pc:sldMkLst>
          <pc:docMk/>
          <pc:sldMk cId="352247274" sldId="320"/>
        </pc:sldMkLst>
      </pc:sldChg>
      <pc:sldChg chg="modSp">
        <pc:chgData name="FLAMENT, Bruno" userId="S::bruno.flament@capgemini.com::de63c4a3-01af-44ba-95bb-6f8fcaf1ef68" providerId="AD" clId="Web-{8FDD5686-B3D9-4EAD-8B4E-A6EA83ECCAA7}" dt="2020-09-23T07:15:56.200" v="5" actId="1076"/>
        <pc:sldMkLst>
          <pc:docMk/>
          <pc:sldMk cId="3222310991" sldId="322"/>
        </pc:sldMkLst>
        <pc:picChg chg="mod">
          <ac:chgData name="FLAMENT, Bruno" userId="S::bruno.flament@capgemini.com::de63c4a3-01af-44ba-95bb-6f8fcaf1ef68" providerId="AD" clId="Web-{8FDD5686-B3D9-4EAD-8B4E-A6EA83ECCAA7}" dt="2020-09-23T07:15:56.200" v="5" actId="1076"/>
          <ac:picMkLst>
            <pc:docMk/>
            <pc:sldMk cId="3222310991" sldId="322"/>
            <ac:picMk id="102" creationId="{00000000-0000-0000-0000-000000000000}"/>
          </ac:picMkLst>
        </pc:picChg>
      </pc:sldChg>
      <pc:sldChg chg="del">
        <pc:chgData name="FLAMENT, Bruno" userId="S::bruno.flament@capgemini.com::de63c4a3-01af-44ba-95bb-6f8fcaf1ef68" providerId="AD" clId="Web-{8FDD5686-B3D9-4EAD-8B4E-A6EA83ECCAA7}" dt="2020-09-23T08:11:08.169" v="211"/>
        <pc:sldMkLst>
          <pc:docMk/>
          <pc:sldMk cId="2099408550" sldId="323"/>
        </pc:sldMkLst>
      </pc:sldChg>
      <pc:sldChg chg="modSp ord">
        <pc:chgData name="FLAMENT, Bruno" userId="S::bruno.flament@capgemini.com::de63c4a3-01af-44ba-95bb-6f8fcaf1ef68" providerId="AD" clId="Web-{8FDD5686-B3D9-4EAD-8B4E-A6EA83ECCAA7}" dt="2020-09-23T08:13:04.639" v="229"/>
        <pc:sldMkLst>
          <pc:docMk/>
          <pc:sldMk cId="2660931233" sldId="324"/>
        </pc:sldMkLst>
        <pc:spChg chg="mod">
          <ac:chgData name="FLAMENT, Bruno" userId="S::bruno.flament@capgemini.com::de63c4a3-01af-44ba-95bb-6f8fcaf1ef68" providerId="AD" clId="Web-{8FDD5686-B3D9-4EAD-8B4E-A6EA83ECCAA7}" dt="2020-09-23T07:30:11.417" v="30" actId="20577"/>
          <ac:spMkLst>
            <pc:docMk/>
            <pc:sldMk cId="2660931233" sldId="324"/>
            <ac:spMk id="84" creationId="{00000000-0000-0000-0000-000000000000}"/>
          </ac:spMkLst>
        </pc:spChg>
      </pc:sldChg>
      <pc:sldChg chg="modSp ord">
        <pc:chgData name="FLAMENT, Bruno" userId="S::bruno.flament@capgemini.com::de63c4a3-01af-44ba-95bb-6f8fcaf1ef68" providerId="AD" clId="Web-{8FDD5686-B3D9-4EAD-8B4E-A6EA83ECCAA7}" dt="2020-09-23T08:27:18.899" v="380"/>
        <pc:sldMkLst>
          <pc:docMk/>
          <pc:sldMk cId="997975158" sldId="325"/>
        </pc:sldMkLst>
        <pc:spChg chg="mod">
          <ac:chgData name="FLAMENT, Bruno" userId="S::bruno.flament@capgemini.com::de63c4a3-01af-44ba-95bb-6f8fcaf1ef68" providerId="AD" clId="Web-{8FDD5686-B3D9-4EAD-8B4E-A6EA83ECCAA7}" dt="2020-09-23T08:18:36.455" v="302" actId="20577"/>
          <ac:spMkLst>
            <pc:docMk/>
            <pc:sldMk cId="997975158" sldId="325"/>
            <ac:spMk id="77" creationId="{00000000-0000-0000-0000-000000000000}"/>
          </ac:spMkLst>
        </pc:spChg>
        <pc:picChg chg="mod">
          <ac:chgData name="FLAMENT, Bruno" userId="S::bruno.flament@capgemini.com::de63c4a3-01af-44ba-95bb-6f8fcaf1ef68" providerId="AD" clId="Web-{8FDD5686-B3D9-4EAD-8B4E-A6EA83ECCAA7}" dt="2020-09-23T08:15:08.406" v="242" actId="1076"/>
          <ac:picMkLst>
            <pc:docMk/>
            <pc:sldMk cId="997975158" sldId="325"/>
            <ac:picMk id="79" creationId="{00000000-0000-0000-0000-000000000000}"/>
          </ac:picMkLst>
        </pc:picChg>
      </pc:sldChg>
      <pc:sldChg chg="del">
        <pc:chgData name="FLAMENT, Bruno" userId="S::bruno.flament@capgemini.com::de63c4a3-01af-44ba-95bb-6f8fcaf1ef68" providerId="AD" clId="Web-{8FDD5686-B3D9-4EAD-8B4E-A6EA83ECCAA7}" dt="2020-09-23T08:04:43.961" v="151"/>
        <pc:sldMkLst>
          <pc:docMk/>
          <pc:sldMk cId="2597213475" sldId="326"/>
        </pc:sldMkLst>
      </pc:sldChg>
      <pc:sldChg chg="modSp del">
        <pc:chgData name="FLAMENT, Bruno" userId="S::bruno.flament@capgemini.com::de63c4a3-01af-44ba-95bb-6f8fcaf1ef68" providerId="AD" clId="Web-{8FDD5686-B3D9-4EAD-8B4E-A6EA83ECCAA7}" dt="2020-09-23T08:01:08.193" v="119"/>
        <pc:sldMkLst>
          <pc:docMk/>
          <pc:sldMk cId="2029459997" sldId="327"/>
        </pc:sldMkLst>
        <pc:spChg chg="mod">
          <ac:chgData name="FLAMENT, Bruno" userId="S::bruno.flament@capgemini.com::de63c4a3-01af-44ba-95bb-6f8fcaf1ef68" providerId="AD" clId="Web-{8FDD5686-B3D9-4EAD-8B4E-A6EA83ECCAA7}" dt="2020-09-23T08:00:44.068" v="114" actId="20577"/>
          <ac:spMkLst>
            <pc:docMk/>
            <pc:sldMk cId="2029459997" sldId="327"/>
            <ac:spMk id="62" creationId="{00000000-0000-0000-0000-000000000000}"/>
          </ac:spMkLst>
        </pc:spChg>
      </pc:sldChg>
      <pc:sldChg chg="delSp modSp">
        <pc:chgData name="FLAMENT, Bruno" userId="S::bruno.flament@capgemini.com::de63c4a3-01af-44ba-95bb-6f8fcaf1ef68" providerId="AD" clId="Web-{8FDD5686-B3D9-4EAD-8B4E-A6EA83ECCAA7}" dt="2020-09-23T08:29:27.573" v="425" actId="20577"/>
        <pc:sldMkLst>
          <pc:docMk/>
          <pc:sldMk cId="3746705426" sldId="330"/>
        </pc:sldMkLst>
        <pc:spChg chg="del">
          <ac:chgData name="FLAMENT, Bruno" userId="S::bruno.flament@capgemini.com::de63c4a3-01af-44ba-95bb-6f8fcaf1ef68" providerId="AD" clId="Web-{8FDD5686-B3D9-4EAD-8B4E-A6EA83ECCAA7}" dt="2020-09-23T08:21:01.738" v="316"/>
          <ac:spMkLst>
            <pc:docMk/>
            <pc:sldMk cId="3746705426" sldId="330"/>
            <ac:spMk id="2" creationId="{C2C4E545-61F7-4476-9F57-D3033F235DD5}"/>
          </ac:spMkLst>
        </pc:spChg>
        <pc:spChg chg="mod">
          <ac:chgData name="FLAMENT, Bruno" userId="S::bruno.flament@capgemini.com::de63c4a3-01af-44ba-95bb-6f8fcaf1ef68" providerId="AD" clId="Web-{8FDD5686-B3D9-4EAD-8B4E-A6EA83ECCAA7}" dt="2020-09-23T08:29:27.573" v="425" actId="20577"/>
          <ac:spMkLst>
            <pc:docMk/>
            <pc:sldMk cId="3746705426" sldId="330"/>
            <ac:spMk id="3" creationId="{94877C5B-2323-400F-95CE-6C47F22676F5}"/>
          </ac:spMkLst>
        </pc:spChg>
      </pc:sldChg>
      <pc:sldChg chg="addSp modSp new del mod ord setBg">
        <pc:chgData name="FLAMENT, Bruno" userId="S::bruno.flament@capgemini.com::de63c4a3-01af-44ba-95bb-6f8fcaf1ef68" providerId="AD" clId="Web-{8FDD5686-B3D9-4EAD-8B4E-A6EA83ECCAA7}" dt="2020-09-23T08:06:06.181" v="176"/>
        <pc:sldMkLst>
          <pc:docMk/>
          <pc:sldMk cId="1325358981" sldId="332"/>
        </pc:sldMkLst>
        <pc:spChg chg="mod">
          <ac:chgData name="FLAMENT, Bruno" userId="S::bruno.flament@capgemini.com::de63c4a3-01af-44ba-95bb-6f8fcaf1ef68" providerId="AD" clId="Web-{8FDD5686-B3D9-4EAD-8B4E-A6EA83ECCAA7}" dt="2020-09-23T07:57:29.925" v="85"/>
          <ac:spMkLst>
            <pc:docMk/>
            <pc:sldMk cId="1325358981" sldId="332"/>
            <ac:spMk id="2" creationId="{9CDD8D4C-725E-424A-9388-AEBEAB67BADB}"/>
          </ac:spMkLst>
        </pc:spChg>
        <pc:spChg chg="mod">
          <ac:chgData name="FLAMENT, Bruno" userId="S::bruno.flament@capgemini.com::de63c4a3-01af-44ba-95bb-6f8fcaf1ef68" providerId="AD" clId="Web-{8FDD5686-B3D9-4EAD-8B4E-A6EA83ECCAA7}" dt="2020-09-23T07:57:56.738" v="92" actId="20577"/>
          <ac:spMkLst>
            <pc:docMk/>
            <pc:sldMk cId="1325358981" sldId="332"/>
            <ac:spMk id="3" creationId="{EEE86E9B-4086-4691-8FBB-166A73EB96B4}"/>
          </ac:spMkLst>
        </pc:spChg>
        <pc:spChg chg="add">
          <ac:chgData name="FLAMENT, Bruno" userId="S::bruno.flament@capgemini.com::de63c4a3-01af-44ba-95bb-6f8fcaf1ef68" providerId="AD" clId="Web-{8FDD5686-B3D9-4EAD-8B4E-A6EA83ECCAA7}" dt="2020-09-23T07:57:29.925" v="85"/>
          <ac:spMkLst>
            <pc:docMk/>
            <pc:sldMk cId="1325358981" sldId="332"/>
            <ac:spMk id="9" creationId="{5E39A796-BE83-48B1-B33F-35C4A32AAB57}"/>
          </ac:spMkLst>
        </pc:spChg>
        <pc:spChg chg="add">
          <ac:chgData name="FLAMENT, Bruno" userId="S::bruno.flament@capgemini.com::de63c4a3-01af-44ba-95bb-6f8fcaf1ef68" providerId="AD" clId="Web-{8FDD5686-B3D9-4EAD-8B4E-A6EA83ECCAA7}" dt="2020-09-23T07:57:29.925" v="85"/>
          <ac:spMkLst>
            <pc:docMk/>
            <pc:sldMk cId="1325358981" sldId="332"/>
            <ac:spMk id="11" creationId="{72F84B47-E267-4194-8194-831DB7B5547F}"/>
          </ac:spMkLst>
        </pc:spChg>
        <pc:picChg chg="add mod">
          <ac:chgData name="FLAMENT, Bruno" userId="S::bruno.flament@capgemini.com::de63c4a3-01af-44ba-95bb-6f8fcaf1ef68" providerId="AD" clId="Web-{8FDD5686-B3D9-4EAD-8B4E-A6EA83ECCAA7}" dt="2020-09-23T07:57:43.097" v="87" actId="14100"/>
          <ac:picMkLst>
            <pc:docMk/>
            <pc:sldMk cId="1325358981" sldId="332"/>
            <ac:picMk id="4" creationId="{26B33E72-C534-4580-899A-97291A40D84D}"/>
          </ac:picMkLst>
        </pc:picChg>
      </pc:sldChg>
      <pc:sldChg chg="add del replId">
        <pc:chgData name="FLAMENT, Bruno" userId="S::bruno.flament@capgemini.com::de63c4a3-01af-44ba-95bb-6f8fcaf1ef68" providerId="AD" clId="Web-{8FDD5686-B3D9-4EAD-8B4E-A6EA83ECCAA7}" dt="2020-09-23T07:59:33.379" v="96"/>
        <pc:sldMkLst>
          <pc:docMk/>
          <pc:sldMk cId="3113402871" sldId="333"/>
        </pc:sldMkLst>
      </pc:sldChg>
      <pc:sldChg chg="addSp delSp modSp add mod ord replId modClrScheme chgLayout">
        <pc:chgData name="FLAMENT, Bruno" userId="S::bruno.flament@capgemini.com::de63c4a3-01af-44ba-95bb-6f8fcaf1ef68" providerId="AD" clId="Web-{8FDD5686-B3D9-4EAD-8B4E-A6EA83ECCAA7}" dt="2020-09-23T08:35:19.796" v="429" actId="20577"/>
        <pc:sldMkLst>
          <pc:docMk/>
          <pc:sldMk cId="3749144415" sldId="333"/>
        </pc:sldMkLst>
        <pc:spChg chg="del">
          <ac:chgData name="FLAMENT, Bruno" userId="S::bruno.flament@capgemini.com::de63c4a3-01af-44ba-95bb-6f8fcaf1ef68" providerId="AD" clId="Web-{8FDD5686-B3D9-4EAD-8B4E-A6EA83ECCAA7}" dt="2020-09-23T08:00:11.536" v="105"/>
          <ac:spMkLst>
            <pc:docMk/>
            <pc:sldMk cId="3749144415" sldId="333"/>
            <ac:spMk id="2" creationId="{75B04869-A1F6-4243-96ED-71BBC4057557}"/>
          </ac:spMkLst>
        </pc:spChg>
        <pc:spChg chg="del mod">
          <ac:chgData name="FLAMENT, Bruno" userId="S::bruno.flament@capgemini.com::de63c4a3-01af-44ba-95bb-6f8fcaf1ef68" providerId="AD" clId="Web-{8FDD5686-B3D9-4EAD-8B4E-A6EA83ECCAA7}" dt="2020-09-23T08:00:22.052" v="108"/>
          <ac:spMkLst>
            <pc:docMk/>
            <pc:sldMk cId="3749144415" sldId="333"/>
            <ac:spMk id="4" creationId="{948D75D1-CADF-4F96-AEC3-ED8359CC3AE1}"/>
          </ac:spMkLst>
        </pc:spChg>
        <pc:spChg chg="del">
          <ac:chgData name="FLAMENT, Bruno" userId="S::bruno.flament@capgemini.com::de63c4a3-01af-44ba-95bb-6f8fcaf1ef68" providerId="AD" clId="Web-{8FDD5686-B3D9-4EAD-8B4E-A6EA83ECCAA7}" dt="2020-09-23T08:00:26.583" v="110"/>
          <ac:spMkLst>
            <pc:docMk/>
            <pc:sldMk cId="3749144415" sldId="333"/>
            <ac:spMk id="5" creationId="{E5ECB244-317E-47CC-B78F-5C707A48BC22}"/>
          </ac:spMkLst>
        </pc:spChg>
        <pc:spChg chg="add del mod">
          <ac:chgData name="FLAMENT, Bruno" userId="S::bruno.flament@capgemini.com::de63c4a3-01af-44ba-95bb-6f8fcaf1ef68" providerId="AD" clId="Web-{8FDD5686-B3D9-4EAD-8B4E-A6EA83ECCAA7}" dt="2020-09-23T08:00:15.942" v="106"/>
          <ac:spMkLst>
            <pc:docMk/>
            <pc:sldMk cId="3749144415" sldId="333"/>
            <ac:spMk id="6" creationId="{F5BCB100-A261-4134-B2E9-AC4EEDA41A9B}"/>
          </ac:spMkLst>
        </pc:spChg>
        <pc:spChg chg="del mod">
          <ac:chgData name="FLAMENT, Bruno" userId="S::bruno.flament@capgemini.com::de63c4a3-01af-44ba-95bb-6f8fcaf1ef68" providerId="AD" clId="Web-{8FDD5686-B3D9-4EAD-8B4E-A6EA83ECCAA7}" dt="2020-09-23T08:00:06.239" v="104"/>
          <ac:spMkLst>
            <pc:docMk/>
            <pc:sldMk cId="3749144415" sldId="333"/>
            <ac:spMk id="7" creationId="{58D696FB-136C-43A2-8858-0735590039FF}"/>
          </ac:spMkLst>
        </pc:spChg>
        <pc:spChg chg="add del mod">
          <ac:chgData name="FLAMENT, Bruno" userId="S::bruno.flament@capgemini.com::de63c4a3-01af-44ba-95bb-6f8fcaf1ef68" providerId="AD" clId="Web-{8FDD5686-B3D9-4EAD-8B4E-A6EA83ECCAA7}" dt="2020-09-23T08:00:24.692" v="109"/>
          <ac:spMkLst>
            <pc:docMk/>
            <pc:sldMk cId="3749144415" sldId="333"/>
            <ac:spMk id="9" creationId="{BB4A1B0D-FF3F-42CF-81E7-1A286F6F6E09}"/>
          </ac:spMkLst>
        </pc:spChg>
        <pc:spChg chg="add mod ord">
          <ac:chgData name="FLAMENT, Bruno" userId="S::bruno.flament@capgemini.com::de63c4a3-01af-44ba-95bb-6f8fcaf1ef68" providerId="AD" clId="Web-{8FDD5686-B3D9-4EAD-8B4E-A6EA83ECCAA7}" dt="2020-09-23T08:35:19.796" v="429" actId="20577"/>
          <ac:spMkLst>
            <pc:docMk/>
            <pc:sldMk cId="3749144415" sldId="333"/>
            <ac:spMk id="11" creationId="{4B5C5D49-AB39-464D-9AED-014BF1FFFC59}"/>
          </ac:spMkLst>
        </pc:spChg>
        <pc:spChg chg="add mod">
          <ac:chgData name="FLAMENT, Bruno" userId="S::bruno.flament@capgemini.com::de63c4a3-01af-44ba-95bb-6f8fcaf1ef68" providerId="AD" clId="Web-{8FDD5686-B3D9-4EAD-8B4E-A6EA83ECCAA7}" dt="2020-09-23T08:26:54.555" v="377" actId="20577"/>
          <ac:spMkLst>
            <pc:docMk/>
            <pc:sldMk cId="3749144415" sldId="333"/>
            <ac:spMk id="13" creationId="{65DCBDD0-A8B8-44E5-8BFA-EB5CA7BBF516}"/>
          </ac:spMkLst>
        </pc:spChg>
        <pc:spChg chg="add del mod">
          <ac:chgData name="FLAMENT, Bruno" userId="S::bruno.flament@capgemini.com::de63c4a3-01af-44ba-95bb-6f8fcaf1ef68" providerId="AD" clId="Web-{8FDD5686-B3D9-4EAD-8B4E-A6EA83ECCAA7}" dt="2020-09-23T08:03:32.570" v="137"/>
          <ac:spMkLst>
            <pc:docMk/>
            <pc:sldMk cId="3749144415" sldId="333"/>
            <ac:spMk id="15" creationId="{06F48980-EF60-421C-BF5A-B9EDDD307AA5}"/>
          </ac:spMkLst>
        </pc:spChg>
        <pc:spChg chg="add del mod">
          <ac:chgData name="FLAMENT, Bruno" userId="S::bruno.flament@capgemini.com::de63c4a3-01af-44ba-95bb-6f8fcaf1ef68" providerId="AD" clId="Web-{8FDD5686-B3D9-4EAD-8B4E-A6EA83ECCAA7}" dt="2020-09-23T08:03:32.570" v="137"/>
          <ac:spMkLst>
            <pc:docMk/>
            <pc:sldMk cId="3749144415" sldId="333"/>
            <ac:spMk id="16" creationId="{7E3C5E95-A8AC-4EA4-9B38-95284226FE16}"/>
          </ac:spMkLst>
        </pc:spChg>
        <pc:spChg chg="add del mod">
          <ac:chgData name="FLAMENT, Bruno" userId="S::bruno.flament@capgemini.com::de63c4a3-01af-44ba-95bb-6f8fcaf1ef68" providerId="AD" clId="Web-{8FDD5686-B3D9-4EAD-8B4E-A6EA83ECCAA7}" dt="2020-09-23T08:03:13.226" v="133"/>
          <ac:spMkLst>
            <pc:docMk/>
            <pc:sldMk cId="3749144415" sldId="333"/>
            <ac:spMk id="18" creationId="{55A40E91-7DF2-4E52-88E9-97AD32C26395}"/>
          </ac:spMkLst>
        </pc:spChg>
        <pc:spChg chg="add del mod">
          <ac:chgData name="FLAMENT, Bruno" userId="S::bruno.flament@capgemini.com::de63c4a3-01af-44ba-95bb-6f8fcaf1ef68" providerId="AD" clId="Web-{8FDD5686-B3D9-4EAD-8B4E-A6EA83ECCAA7}" dt="2020-09-23T08:03:13.226" v="133"/>
          <ac:spMkLst>
            <pc:docMk/>
            <pc:sldMk cId="3749144415" sldId="333"/>
            <ac:spMk id="20" creationId="{121E4FA8-524C-4EAB-B770-EA5B4F486EFA}"/>
          </ac:spMkLst>
        </pc:spChg>
        <pc:spChg chg="add del mod">
          <ac:chgData name="FLAMENT, Bruno" userId="S::bruno.flament@capgemini.com::de63c4a3-01af-44ba-95bb-6f8fcaf1ef68" providerId="AD" clId="Web-{8FDD5686-B3D9-4EAD-8B4E-A6EA83ECCAA7}" dt="2020-09-23T08:03:32.570" v="137"/>
          <ac:spMkLst>
            <pc:docMk/>
            <pc:sldMk cId="3749144415" sldId="333"/>
            <ac:spMk id="22" creationId="{F1FDEFB6-6E90-41C9-ACA9-D967F3CC5855}"/>
          </ac:spMkLst>
        </pc:spChg>
      </pc:sldChg>
      <pc:sldChg chg="addSp delSp modSp add mod replId modClrScheme chgLayout">
        <pc:chgData name="FLAMENT, Bruno" userId="S::bruno.flament@capgemini.com::de63c4a3-01af-44ba-95bb-6f8fcaf1ef68" providerId="AD" clId="Web-{8FDD5686-B3D9-4EAD-8B4E-A6EA83ECCAA7}" dt="2020-09-23T08:52:51.746" v="861"/>
        <pc:sldMkLst>
          <pc:docMk/>
          <pc:sldMk cId="1960341879" sldId="334"/>
        </pc:sldMkLst>
        <pc:spChg chg="add del mod">
          <ac:chgData name="FLAMENT, Bruno" userId="S::bruno.flament@capgemini.com::de63c4a3-01af-44ba-95bb-6f8fcaf1ef68" providerId="AD" clId="Web-{8FDD5686-B3D9-4EAD-8B4E-A6EA83ECCAA7}" dt="2020-09-23T08:02:07.241" v="126"/>
          <ac:spMkLst>
            <pc:docMk/>
            <pc:sldMk cId="1960341879" sldId="334"/>
            <ac:spMk id="3" creationId="{17801BEC-37B0-4597-B7E7-E5464513B0AF}"/>
          </ac:spMkLst>
        </pc:spChg>
        <pc:spChg chg="add mod">
          <ac:chgData name="FLAMENT, Bruno" userId="S::bruno.flament@capgemini.com::de63c4a3-01af-44ba-95bb-6f8fcaf1ef68" providerId="AD" clId="Web-{8FDD5686-B3D9-4EAD-8B4E-A6EA83ECCAA7}" dt="2020-09-23T08:14:25.593" v="240" actId="1076"/>
          <ac:spMkLst>
            <pc:docMk/>
            <pc:sldMk cId="1960341879" sldId="334"/>
            <ac:spMk id="4" creationId="{2B0C00D4-C914-450C-AC3B-6390CF351EE8}"/>
          </ac:spMkLst>
        </pc:spChg>
        <pc:spChg chg="add del mod">
          <ac:chgData name="FLAMENT, Bruno" userId="S::bruno.flament@capgemini.com::de63c4a3-01af-44ba-95bb-6f8fcaf1ef68" providerId="AD" clId="Web-{8FDD5686-B3D9-4EAD-8B4E-A6EA83ECCAA7}" dt="2020-09-23T08:04:29.867" v="145"/>
          <ac:spMkLst>
            <pc:docMk/>
            <pc:sldMk cId="1960341879" sldId="334"/>
            <ac:spMk id="5" creationId="{23CFCA77-9E9C-4613-A98C-EA6F1377F2D0}"/>
          </ac:spMkLst>
        </pc:spChg>
        <pc:spChg chg="add del mod">
          <ac:chgData name="FLAMENT, Bruno" userId="S::bruno.flament@capgemini.com::de63c4a3-01af-44ba-95bb-6f8fcaf1ef68" providerId="AD" clId="Web-{8FDD5686-B3D9-4EAD-8B4E-A6EA83ECCAA7}" dt="2020-09-23T08:02:50.022" v="128"/>
          <ac:spMkLst>
            <pc:docMk/>
            <pc:sldMk cId="1960341879" sldId="334"/>
            <ac:spMk id="6" creationId="{2B0C00D4-C914-450C-AC3B-6390CF351EE8}"/>
          </ac:spMkLst>
        </pc:spChg>
        <pc:spChg chg="add del mod">
          <ac:chgData name="FLAMENT, Bruno" userId="S::bruno.flament@capgemini.com::de63c4a3-01af-44ba-95bb-6f8fcaf1ef68" providerId="AD" clId="Web-{8FDD5686-B3D9-4EAD-8B4E-A6EA83ECCAA7}" dt="2020-09-23T08:04:28.680" v="144"/>
          <ac:spMkLst>
            <pc:docMk/>
            <pc:sldMk cId="1960341879" sldId="334"/>
            <ac:spMk id="7" creationId="{9661CEF6-7727-4601-8B2A-142F938CA1FF}"/>
          </ac:spMkLst>
        </pc:spChg>
        <pc:spChg chg="add del mod">
          <ac:chgData name="FLAMENT, Bruno" userId="S::bruno.flament@capgemini.com::de63c4a3-01af-44ba-95bb-6f8fcaf1ef68" providerId="AD" clId="Web-{8FDD5686-B3D9-4EAD-8B4E-A6EA83ECCAA7}" dt="2020-09-23T08:02:50.022" v="128"/>
          <ac:spMkLst>
            <pc:docMk/>
            <pc:sldMk cId="1960341879" sldId="334"/>
            <ac:spMk id="8" creationId="{23CFCA77-9E9C-4613-A98C-EA6F1377F2D0}"/>
          </ac:spMkLst>
        </pc:spChg>
        <pc:spChg chg="add mod">
          <ac:chgData name="FLAMENT, Bruno" userId="S::bruno.flament@capgemini.com::de63c4a3-01af-44ba-95bb-6f8fcaf1ef68" providerId="AD" clId="Web-{8FDD5686-B3D9-4EAD-8B4E-A6EA83ECCAA7}" dt="2020-09-23T08:03:01.647" v="131"/>
          <ac:spMkLst>
            <pc:docMk/>
            <pc:sldMk cId="1960341879" sldId="334"/>
            <ac:spMk id="9" creationId="{F8DF4550-5E6B-449D-8211-D1FD14AE21B4}"/>
          </ac:spMkLst>
        </pc:spChg>
        <pc:spChg chg="add del mod">
          <ac:chgData name="FLAMENT, Bruno" userId="S::bruno.flament@capgemini.com::de63c4a3-01af-44ba-95bb-6f8fcaf1ef68" providerId="AD" clId="Web-{8FDD5686-B3D9-4EAD-8B4E-A6EA83ECCAA7}" dt="2020-09-23T08:02:50.022" v="128"/>
          <ac:spMkLst>
            <pc:docMk/>
            <pc:sldMk cId="1960341879" sldId="334"/>
            <ac:spMk id="10" creationId="{9661CEF6-7727-4601-8B2A-142F938CA1FF}"/>
          </ac:spMkLst>
        </pc:spChg>
        <pc:spChg chg="del mod">
          <ac:chgData name="FLAMENT, Bruno" userId="S::bruno.flament@capgemini.com::de63c4a3-01af-44ba-95bb-6f8fcaf1ef68" providerId="AD" clId="Web-{8FDD5686-B3D9-4EAD-8B4E-A6EA83ECCAA7}" dt="2020-09-23T08:02:04.428" v="125"/>
          <ac:spMkLst>
            <pc:docMk/>
            <pc:sldMk cId="1960341879" sldId="334"/>
            <ac:spMk id="11" creationId="{4B5C5D49-AB39-464D-9AED-014BF1FFFC59}"/>
          </ac:spMkLst>
        </pc:spChg>
        <pc:spChg chg="add del mod">
          <ac:chgData name="FLAMENT, Bruno" userId="S::bruno.flament@capgemini.com::de63c4a3-01af-44ba-95bb-6f8fcaf1ef68" providerId="AD" clId="Web-{8FDD5686-B3D9-4EAD-8B4E-A6EA83ECCAA7}" dt="2020-09-23T08:02:50.022" v="128"/>
          <ac:spMkLst>
            <pc:docMk/>
            <pc:sldMk cId="1960341879" sldId="334"/>
            <ac:spMk id="12" creationId="{F8DF4550-5E6B-449D-8211-D1FD14AE21B4}"/>
          </ac:spMkLst>
        </pc:spChg>
        <pc:spChg chg="del mod">
          <ac:chgData name="FLAMENT, Bruno" userId="S::bruno.flament@capgemini.com::de63c4a3-01af-44ba-95bb-6f8fcaf1ef68" providerId="AD" clId="Web-{8FDD5686-B3D9-4EAD-8B4E-A6EA83ECCAA7}" dt="2020-09-23T08:01:57.803" v="123"/>
          <ac:spMkLst>
            <pc:docMk/>
            <pc:sldMk cId="1960341879" sldId="334"/>
            <ac:spMk id="13" creationId="{65DCBDD0-A8B8-44E5-8BFA-EB5CA7BBF516}"/>
          </ac:spMkLst>
        </pc:spChg>
        <pc:spChg chg="add del mod">
          <ac:chgData name="FLAMENT, Bruno" userId="S::bruno.flament@capgemini.com::de63c4a3-01af-44ba-95bb-6f8fcaf1ef68" providerId="AD" clId="Web-{8FDD5686-B3D9-4EAD-8B4E-A6EA83ECCAA7}" dt="2020-09-23T08:48:54.728" v="695"/>
          <ac:spMkLst>
            <pc:docMk/>
            <pc:sldMk cId="1960341879" sldId="334"/>
            <ac:spMk id="17" creationId="{ABD75B90-35D8-4EE0-A6E6-B5A77060B2ED}"/>
          </ac:spMkLst>
        </pc:spChg>
        <pc:spChg chg="add del mod">
          <ac:chgData name="FLAMENT, Bruno" userId="S::bruno.flament@capgemini.com::de63c4a3-01af-44ba-95bb-6f8fcaf1ef68" providerId="AD" clId="Web-{8FDD5686-B3D9-4EAD-8B4E-A6EA83ECCAA7}" dt="2020-09-23T08:49:30.791" v="708"/>
          <ac:spMkLst>
            <pc:docMk/>
            <pc:sldMk cId="1960341879" sldId="334"/>
            <ac:spMk id="19" creationId="{73484014-4221-45E8-82E1-E58CB9933EAA}"/>
          </ac:spMkLst>
        </pc:spChg>
        <pc:graphicFrameChg chg="add mod modGraphic">
          <ac:chgData name="FLAMENT, Bruno" userId="S::bruno.flament@capgemini.com::de63c4a3-01af-44ba-95bb-6f8fcaf1ef68" providerId="AD" clId="Web-{8FDD5686-B3D9-4EAD-8B4E-A6EA83ECCAA7}" dt="2020-09-23T08:51:26.526" v="824"/>
          <ac:graphicFrameMkLst>
            <pc:docMk/>
            <pc:sldMk cId="1960341879" sldId="334"/>
            <ac:graphicFrameMk id="20" creationId="{261DB1AC-5E7C-40AA-8817-7B2640E08B6F}"/>
          </ac:graphicFrameMkLst>
        </pc:graphicFrameChg>
        <pc:graphicFrameChg chg="add mod modGraphic">
          <ac:chgData name="FLAMENT, Bruno" userId="S::bruno.flament@capgemini.com::de63c4a3-01af-44ba-95bb-6f8fcaf1ef68" providerId="AD" clId="Web-{8FDD5686-B3D9-4EAD-8B4E-A6EA83ECCAA7}" dt="2020-09-23T08:52:51.746" v="861"/>
          <ac:graphicFrameMkLst>
            <pc:docMk/>
            <pc:sldMk cId="1960341879" sldId="334"/>
            <ac:graphicFrameMk id="21" creationId="{B49BAA2D-5D14-471F-AE9A-213404B89340}"/>
          </ac:graphicFrameMkLst>
        </pc:graphicFrameChg>
        <pc:picChg chg="add del mod">
          <ac:chgData name="FLAMENT, Bruno" userId="S::bruno.flament@capgemini.com::de63c4a3-01af-44ba-95bb-6f8fcaf1ef68" providerId="AD" clId="Web-{8FDD5686-B3D9-4EAD-8B4E-A6EA83ECCAA7}" dt="2020-09-23T08:48:09.993" v="682"/>
          <ac:picMkLst>
            <pc:docMk/>
            <pc:sldMk cId="1960341879" sldId="334"/>
            <ac:picMk id="15" creationId="{C7B60983-71C9-48F5-B4A1-39B80E74433E}"/>
          </ac:picMkLst>
        </pc:picChg>
      </pc:sldChg>
      <pc:sldChg chg="addSp delSp modSp add replId">
        <pc:chgData name="FLAMENT, Bruno" userId="S::bruno.flament@capgemini.com::de63c4a3-01af-44ba-95bb-6f8fcaf1ef68" providerId="AD" clId="Web-{8FDD5686-B3D9-4EAD-8B4E-A6EA83ECCAA7}" dt="2020-09-23T08:52:09.074" v="825"/>
        <pc:sldMkLst>
          <pc:docMk/>
          <pc:sldMk cId="3273455644" sldId="335"/>
        </pc:sldMkLst>
        <pc:spChg chg="add mod">
          <ac:chgData name="FLAMENT, Bruno" userId="S::bruno.flament@capgemini.com::de63c4a3-01af-44ba-95bb-6f8fcaf1ef68" providerId="AD" clId="Web-{8FDD5686-B3D9-4EAD-8B4E-A6EA83ECCAA7}" dt="2020-09-23T08:46:51.367" v="511" actId="1076"/>
          <ac:spMkLst>
            <pc:docMk/>
            <pc:sldMk cId="3273455644" sldId="335"/>
            <ac:spMk id="3" creationId="{96B2BC18-048F-4DD3-A0D0-8ADB2A83B796}"/>
          </ac:spMkLst>
        </pc:spChg>
        <pc:spChg chg="mod">
          <ac:chgData name="FLAMENT, Bruno" userId="S::bruno.flament@capgemini.com::de63c4a3-01af-44ba-95bb-6f8fcaf1ef68" providerId="AD" clId="Web-{8FDD5686-B3D9-4EAD-8B4E-A6EA83ECCAA7}" dt="2020-09-23T08:08:34.308" v="188" actId="20577"/>
          <ac:spMkLst>
            <pc:docMk/>
            <pc:sldMk cId="3273455644" sldId="335"/>
            <ac:spMk id="4" creationId="{2B0C00D4-C914-450C-AC3B-6390CF351EE8}"/>
          </ac:spMkLst>
        </pc:spChg>
        <pc:spChg chg="add del">
          <ac:chgData name="FLAMENT, Bruno" userId="S::bruno.flament@capgemini.com::de63c4a3-01af-44ba-95bb-6f8fcaf1ef68" providerId="AD" clId="Web-{8FDD5686-B3D9-4EAD-8B4E-A6EA83ECCAA7}" dt="2020-09-23T08:15:37.266" v="251"/>
          <ac:spMkLst>
            <pc:docMk/>
            <pc:sldMk cId="3273455644" sldId="335"/>
            <ac:spMk id="5" creationId="{F1C32DB9-3CA7-4790-B889-682638DE4047}"/>
          </ac:spMkLst>
        </pc:spChg>
        <pc:spChg chg="add del mod">
          <ac:chgData name="FLAMENT, Bruno" userId="S::bruno.flament@capgemini.com::de63c4a3-01af-44ba-95bb-6f8fcaf1ef68" providerId="AD" clId="Web-{8FDD5686-B3D9-4EAD-8B4E-A6EA83ECCAA7}" dt="2020-09-23T08:15:34.938" v="250"/>
          <ac:spMkLst>
            <pc:docMk/>
            <pc:sldMk cId="3273455644" sldId="335"/>
            <ac:spMk id="6" creationId="{0705FF7C-B96B-4D34-8E7C-F59F36A35302}"/>
          </ac:spMkLst>
        </pc:spChg>
        <pc:spChg chg="add del mod">
          <ac:chgData name="FLAMENT, Bruno" userId="S::bruno.flament@capgemini.com::de63c4a3-01af-44ba-95bb-6f8fcaf1ef68" providerId="AD" clId="Web-{8FDD5686-B3D9-4EAD-8B4E-A6EA83ECCAA7}" dt="2020-09-23T08:46:56.976" v="515"/>
          <ac:spMkLst>
            <pc:docMk/>
            <pc:sldMk cId="3273455644" sldId="335"/>
            <ac:spMk id="8" creationId="{DCB62D1A-2C94-4D1E-A7DB-747C5542FAC4}"/>
          </ac:spMkLst>
        </pc:spChg>
        <pc:spChg chg="add del mod">
          <ac:chgData name="FLAMENT, Bruno" userId="S::bruno.flament@capgemini.com::de63c4a3-01af-44ba-95bb-6f8fcaf1ef68" providerId="AD" clId="Web-{8FDD5686-B3D9-4EAD-8B4E-A6EA83ECCAA7}" dt="2020-09-23T08:52:09.074" v="825"/>
          <ac:spMkLst>
            <pc:docMk/>
            <pc:sldMk cId="3273455644" sldId="335"/>
            <ac:spMk id="10" creationId="{9AE0831E-3C00-4AB0-9EAB-6202A3B76DBD}"/>
          </ac:spMkLst>
        </pc:spChg>
        <pc:spChg chg="add mod">
          <ac:chgData name="FLAMENT, Bruno" userId="S::bruno.flament@capgemini.com::de63c4a3-01af-44ba-95bb-6f8fcaf1ef68" providerId="AD" clId="Web-{8FDD5686-B3D9-4EAD-8B4E-A6EA83ECCAA7}" dt="2020-09-23T08:47:40.446" v="676" actId="20577"/>
          <ac:spMkLst>
            <pc:docMk/>
            <pc:sldMk cId="3273455644" sldId="335"/>
            <ac:spMk id="13" creationId="{4FC6165F-B5B7-496F-A55F-EACA25F48E2C}"/>
          </ac:spMkLst>
        </pc:spChg>
        <pc:spChg chg="del mod">
          <ac:chgData name="FLAMENT, Bruno" userId="S::bruno.flament@capgemini.com::de63c4a3-01af-44ba-95bb-6f8fcaf1ef68" providerId="AD" clId="Web-{8FDD5686-B3D9-4EAD-8B4E-A6EA83ECCAA7}" dt="2020-09-23T08:05:38.649" v="168"/>
          <ac:spMkLst>
            <pc:docMk/>
            <pc:sldMk cId="3273455644" sldId="335"/>
            <ac:spMk id="17" creationId="{ABD75B90-35D8-4EE0-A6E6-B5A77060B2ED}"/>
          </ac:spMkLst>
        </pc:spChg>
        <pc:spChg chg="del">
          <ac:chgData name="FLAMENT, Bruno" userId="S::bruno.flament@capgemini.com::de63c4a3-01af-44ba-95bb-6f8fcaf1ef68" providerId="AD" clId="Web-{8FDD5686-B3D9-4EAD-8B4E-A6EA83ECCAA7}" dt="2020-09-23T08:05:37.727" v="167"/>
          <ac:spMkLst>
            <pc:docMk/>
            <pc:sldMk cId="3273455644" sldId="335"/>
            <ac:spMk id="19" creationId="{73484014-4221-45E8-82E1-E58CB9933EAA}"/>
          </ac:spMkLst>
        </pc:spChg>
        <pc:picChg chg="add mod">
          <ac:chgData name="FLAMENT, Bruno" userId="S::bruno.flament@capgemini.com::de63c4a3-01af-44ba-95bb-6f8fcaf1ef68" providerId="AD" clId="Web-{8FDD5686-B3D9-4EAD-8B4E-A6EA83ECCAA7}" dt="2020-09-23T08:46:48.023" v="510" actId="14100"/>
          <ac:picMkLst>
            <pc:docMk/>
            <pc:sldMk cId="3273455644" sldId="335"/>
            <ac:picMk id="2" creationId="{7C7F8463-7255-4956-B3B9-6E7371527D04}"/>
          </ac:picMkLst>
        </pc:picChg>
        <pc:picChg chg="del">
          <ac:chgData name="FLAMENT, Bruno" userId="S::bruno.flament@capgemini.com::de63c4a3-01af-44ba-95bb-6f8fcaf1ef68" providerId="AD" clId="Web-{8FDD5686-B3D9-4EAD-8B4E-A6EA83ECCAA7}" dt="2020-09-23T08:05:36.430" v="166"/>
          <ac:picMkLst>
            <pc:docMk/>
            <pc:sldMk cId="3273455644" sldId="335"/>
            <ac:picMk id="15" creationId="{C7B60983-71C9-48F5-B4A1-39B80E74433E}"/>
          </ac:picMkLst>
        </pc:picChg>
      </pc:sldChg>
      <pc:sldChg chg="add del replId">
        <pc:chgData name="FLAMENT, Bruno" userId="S::bruno.flament@capgemini.com::de63c4a3-01af-44ba-95bb-6f8fcaf1ef68" providerId="AD" clId="Web-{8FDD5686-B3D9-4EAD-8B4E-A6EA83ECCAA7}" dt="2020-09-23T08:09:48.449" v="198"/>
        <pc:sldMkLst>
          <pc:docMk/>
          <pc:sldMk cId="965455653" sldId="336"/>
        </pc:sldMkLst>
      </pc:sldChg>
      <pc:sldChg chg="addSp delSp modSp add replId">
        <pc:chgData name="FLAMENT, Bruno" userId="S::bruno.flament@capgemini.com::de63c4a3-01af-44ba-95bb-6f8fcaf1ef68" providerId="AD" clId="Web-{8FDD5686-B3D9-4EAD-8B4E-A6EA83ECCAA7}" dt="2020-09-23T08:35:28.327" v="430" actId="14100"/>
        <pc:sldMkLst>
          <pc:docMk/>
          <pc:sldMk cId="3425821341" sldId="336"/>
        </pc:sldMkLst>
        <pc:spChg chg="mod">
          <ac:chgData name="FLAMENT, Bruno" userId="S::bruno.flament@capgemini.com::de63c4a3-01af-44ba-95bb-6f8fcaf1ef68" providerId="AD" clId="Web-{8FDD5686-B3D9-4EAD-8B4E-A6EA83ECCAA7}" dt="2020-09-23T08:34:58.593" v="427" actId="1076"/>
          <ac:spMkLst>
            <pc:docMk/>
            <pc:sldMk cId="3425821341" sldId="336"/>
            <ac:spMk id="11" creationId="{4B5C5D49-AB39-464D-9AED-014BF1FFFC59}"/>
          </ac:spMkLst>
        </pc:spChg>
        <pc:spChg chg="mod">
          <ac:chgData name="FLAMENT, Bruno" userId="S::bruno.flament@capgemini.com::de63c4a3-01af-44ba-95bb-6f8fcaf1ef68" providerId="AD" clId="Web-{8FDD5686-B3D9-4EAD-8B4E-A6EA83ECCAA7}" dt="2020-09-23T08:10:12.527" v="202" actId="20577"/>
          <ac:spMkLst>
            <pc:docMk/>
            <pc:sldMk cId="3425821341" sldId="336"/>
            <ac:spMk id="13" creationId="{65DCBDD0-A8B8-44E5-8BFA-EB5CA7BBF516}"/>
          </ac:spMkLst>
        </pc:spChg>
        <pc:picChg chg="add mod">
          <ac:chgData name="FLAMENT, Bruno" userId="S::bruno.flament@capgemini.com::de63c4a3-01af-44ba-95bb-6f8fcaf1ef68" providerId="AD" clId="Web-{8FDD5686-B3D9-4EAD-8B4E-A6EA83ECCAA7}" dt="2020-09-23T08:35:28.327" v="430" actId="14100"/>
          <ac:picMkLst>
            <pc:docMk/>
            <pc:sldMk cId="3425821341" sldId="336"/>
            <ac:picMk id="2" creationId="{7EBC69F1-8831-4D1F-9A77-F17E5F055642}"/>
          </ac:picMkLst>
        </pc:picChg>
        <pc:picChg chg="add del mod">
          <ac:chgData name="FLAMENT, Bruno" userId="S::bruno.flament@capgemini.com::de63c4a3-01af-44ba-95bb-6f8fcaf1ef68" providerId="AD" clId="Web-{8FDD5686-B3D9-4EAD-8B4E-A6EA83ECCAA7}" dt="2020-09-23T08:10:28.293" v="206"/>
          <ac:picMkLst>
            <pc:docMk/>
            <pc:sldMk cId="3425821341" sldId="336"/>
            <ac:picMk id="3" creationId="{6A501398-365F-4E10-A00A-97252E3202AB}"/>
          </ac:picMkLst>
        </pc:picChg>
      </pc:sldChg>
      <pc:sldChg chg="addSp delSp modSp add ord replId">
        <pc:chgData name="FLAMENT, Bruno" userId="S::bruno.flament@capgemini.com::de63c4a3-01af-44ba-95bb-6f8fcaf1ef68" providerId="AD" clId="Web-{8FDD5686-B3D9-4EAD-8B4E-A6EA83ECCAA7}" dt="2020-09-23T08:14:00.936" v="239"/>
        <pc:sldMkLst>
          <pc:docMk/>
          <pc:sldMk cId="249649090" sldId="337"/>
        </pc:sldMkLst>
        <pc:spChg chg="add del mod">
          <ac:chgData name="FLAMENT, Bruno" userId="S::bruno.flament@capgemini.com::de63c4a3-01af-44ba-95bb-6f8fcaf1ef68" providerId="AD" clId="Web-{8FDD5686-B3D9-4EAD-8B4E-A6EA83ECCAA7}" dt="2020-09-23T08:14:00.936" v="239"/>
          <ac:spMkLst>
            <pc:docMk/>
            <pc:sldMk cId="249649090" sldId="337"/>
            <ac:spMk id="4" creationId="{3543FB21-5796-473E-969D-62177B3D1874}"/>
          </ac:spMkLst>
        </pc:spChg>
        <pc:spChg chg="del">
          <ac:chgData name="FLAMENT, Bruno" userId="S::bruno.flament@capgemini.com::de63c4a3-01af-44ba-95bb-6f8fcaf1ef68" providerId="AD" clId="Web-{8FDD5686-B3D9-4EAD-8B4E-A6EA83ECCAA7}" dt="2020-09-23T08:13:57.936" v="238"/>
          <ac:spMkLst>
            <pc:docMk/>
            <pc:sldMk cId="249649090" sldId="337"/>
            <ac:spMk id="11" creationId="{4B5C5D49-AB39-464D-9AED-014BF1FFFC59}"/>
          </ac:spMkLst>
        </pc:spChg>
        <pc:spChg chg="add del mod">
          <ac:chgData name="FLAMENT, Bruno" userId="S::bruno.flament@capgemini.com::de63c4a3-01af-44ba-95bb-6f8fcaf1ef68" providerId="AD" clId="Web-{8FDD5686-B3D9-4EAD-8B4E-A6EA83ECCAA7}" dt="2020-09-23T08:13:51.264" v="236"/>
          <ac:spMkLst>
            <pc:docMk/>
            <pc:sldMk cId="249649090" sldId="337"/>
            <ac:spMk id="13" creationId="{65DCBDD0-A8B8-44E5-8BFA-EB5CA7BBF516}"/>
          </ac:spMkLst>
        </pc:spChg>
        <pc:picChg chg="del">
          <ac:chgData name="FLAMENT, Bruno" userId="S::bruno.flament@capgemini.com::de63c4a3-01af-44ba-95bb-6f8fcaf1ef68" providerId="AD" clId="Web-{8FDD5686-B3D9-4EAD-8B4E-A6EA83ECCAA7}" dt="2020-09-23T08:13:55.624" v="237"/>
          <ac:picMkLst>
            <pc:docMk/>
            <pc:sldMk cId="249649090" sldId="337"/>
            <ac:picMk id="2" creationId="{7EBC69F1-8831-4D1F-9A77-F17E5F055642}"/>
          </ac:picMkLst>
        </pc:picChg>
      </pc:sldChg>
      <pc:sldChg chg="add del replId">
        <pc:chgData name="FLAMENT, Bruno" userId="S::bruno.flament@capgemini.com::de63c4a3-01af-44ba-95bb-6f8fcaf1ef68" providerId="AD" clId="Web-{8FDD5686-B3D9-4EAD-8B4E-A6EA83ECCAA7}" dt="2020-09-23T08:22:14.958" v="325"/>
        <pc:sldMkLst>
          <pc:docMk/>
          <pc:sldMk cId="1561334347" sldId="338"/>
        </pc:sldMkLst>
      </pc:sldChg>
      <pc:sldChg chg="modSp add ord replId">
        <pc:chgData name="FLAMENT, Bruno" userId="S::bruno.flament@capgemini.com::de63c4a3-01af-44ba-95bb-6f8fcaf1ef68" providerId="AD" clId="Web-{8FDD5686-B3D9-4EAD-8B4E-A6EA83ECCAA7}" dt="2020-09-23T08:22:32.099" v="333" actId="20577"/>
        <pc:sldMkLst>
          <pc:docMk/>
          <pc:sldMk cId="2939952590" sldId="338"/>
        </pc:sldMkLst>
        <pc:spChg chg="mod">
          <ac:chgData name="FLAMENT, Bruno" userId="S::bruno.flament@capgemini.com::de63c4a3-01af-44ba-95bb-6f8fcaf1ef68" providerId="AD" clId="Web-{8FDD5686-B3D9-4EAD-8B4E-A6EA83ECCAA7}" dt="2020-09-23T08:22:32.099" v="333" actId="20577"/>
          <ac:spMkLst>
            <pc:docMk/>
            <pc:sldMk cId="2939952590" sldId="338"/>
            <ac:spMk id="3" creationId="{94877C5B-2323-400F-95CE-6C47F22676F5}"/>
          </ac:spMkLst>
        </pc:spChg>
      </pc:sldChg>
      <pc:sldChg chg="add del replId">
        <pc:chgData name="FLAMENT, Bruno" userId="S::bruno.flament@capgemini.com::de63c4a3-01af-44ba-95bb-6f8fcaf1ef68" providerId="AD" clId="Web-{8FDD5686-B3D9-4EAD-8B4E-A6EA83ECCAA7}" dt="2020-09-23T08:26:55.743" v="378"/>
        <pc:sldMkLst>
          <pc:docMk/>
          <pc:sldMk cId="516249416" sldId="339"/>
        </pc:sldMkLst>
      </pc:sldChg>
      <pc:sldChg chg="add del replId">
        <pc:chgData name="FLAMENT, Bruno" userId="S::bruno.flament@capgemini.com::de63c4a3-01af-44ba-95bb-6f8fcaf1ef68" providerId="AD" clId="Web-{8FDD5686-B3D9-4EAD-8B4E-A6EA83ECCAA7}" dt="2020-09-23T08:25:30.351" v="365"/>
        <pc:sldMkLst>
          <pc:docMk/>
          <pc:sldMk cId="2337676323" sldId="339"/>
        </pc:sldMkLst>
      </pc:sldChg>
      <pc:sldChg chg="modSp new">
        <pc:chgData name="FLAMENT, Bruno" userId="S::bruno.flament@capgemini.com::de63c4a3-01af-44ba-95bb-6f8fcaf1ef68" providerId="AD" clId="Web-{8FDD5686-B3D9-4EAD-8B4E-A6EA83ECCAA7}" dt="2020-09-23T08:44:24.865" v="502" actId="20577"/>
        <pc:sldMkLst>
          <pc:docMk/>
          <pc:sldMk cId="3581971898" sldId="339"/>
        </pc:sldMkLst>
        <pc:spChg chg="mod">
          <ac:chgData name="FLAMENT, Bruno" userId="S::bruno.flament@capgemini.com::de63c4a3-01af-44ba-95bb-6f8fcaf1ef68" providerId="AD" clId="Web-{8FDD5686-B3D9-4EAD-8B4E-A6EA83ECCAA7}" dt="2020-09-23T08:44:24.865" v="502" actId="20577"/>
          <ac:spMkLst>
            <pc:docMk/>
            <pc:sldMk cId="3581971898" sldId="339"/>
            <ac:spMk id="2" creationId="{873D6D03-65C0-4C70-A38C-DD800CC83B45}"/>
          </ac:spMkLst>
        </pc:spChg>
      </pc:sldChg>
    </pc:docChg>
  </pc:docChgLst>
  <pc:docChgLst>
    <pc:chgData name="FLAMENT, Bruno" userId="S::bruno.flament@capgemini.com::de63c4a3-01af-44ba-95bb-6f8fcaf1ef68" providerId="AD" clId="Web-{8D96B46D-0F0D-43EE-BC4E-F2E7505B3218}"/>
    <pc:docChg chg="delSld modSld">
      <pc:chgData name="FLAMENT, Bruno" userId="S::bruno.flament@capgemini.com::de63c4a3-01af-44ba-95bb-6f8fcaf1ef68" providerId="AD" clId="Web-{8D96B46D-0F0D-43EE-BC4E-F2E7505B3218}" dt="2020-09-24T08:45:44.789" v="283" actId="1076"/>
      <pc:docMkLst>
        <pc:docMk/>
      </pc:docMkLst>
      <pc:sldChg chg="modSp">
        <pc:chgData name="FLAMENT, Bruno" userId="S::bruno.flament@capgemini.com::de63c4a3-01af-44ba-95bb-6f8fcaf1ef68" providerId="AD" clId="Web-{8D96B46D-0F0D-43EE-BC4E-F2E7505B3218}" dt="2020-09-24T08:27:18.213" v="20" actId="20577"/>
        <pc:sldMkLst>
          <pc:docMk/>
          <pc:sldMk cId="1732620760" sldId="347"/>
        </pc:sldMkLst>
        <pc:spChg chg="mod">
          <ac:chgData name="FLAMENT, Bruno" userId="S::bruno.flament@capgemini.com::de63c4a3-01af-44ba-95bb-6f8fcaf1ef68" providerId="AD" clId="Web-{8D96B46D-0F0D-43EE-BC4E-F2E7505B3218}" dt="2020-09-24T08:27:18.213" v="20" actId="20577"/>
          <ac:spMkLst>
            <pc:docMk/>
            <pc:sldMk cId="1732620760" sldId="347"/>
            <ac:spMk id="4" creationId="{00000000-0000-0000-0000-000000000000}"/>
          </ac:spMkLst>
        </pc:spChg>
      </pc:sldChg>
      <pc:sldChg chg="addSp delSp modSp">
        <pc:chgData name="FLAMENT, Bruno" userId="S::bruno.flament@capgemini.com::de63c4a3-01af-44ba-95bb-6f8fcaf1ef68" providerId="AD" clId="Web-{8D96B46D-0F0D-43EE-BC4E-F2E7505B3218}" dt="2020-09-24T08:42:57.005" v="261" actId="20577"/>
        <pc:sldMkLst>
          <pc:docMk/>
          <pc:sldMk cId="3073627176" sldId="358"/>
        </pc:sldMkLst>
        <pc:spChg chg="del mod">
          <ac:chgData name="FLAMENT, Bruno" userId="S::bruno.flament@capgemini.com::de63c4a3-01af-44ba-95bb-6f8fcaf1ef68" providerId="AD" clId="Web-{8D96B46D-0F0D-43EE-BC4E-F2E7505B3218}" dt="2020-09-24T08:35:51.782" v="166"/>
          <ac:spMkLst>
            <pc:docMk/>
            <pc:sldMk cId="3073627176" sldId="358"/>
            <ac:spMk id="3" creationId="{00000000-0000-0000-0000-000000000000}"/>
          </ac:spMkLst>
        </pc:spChg>
        <pc:spChg chg="mod">
          <ac:chgData name="FLAMENT, Bruno" userId="S::bruno.flament@capgemini.com::de63c4a3-01af-44ba-95bb-6f8fcaf1ef68" providerId="AD" clId="Web-{8D96B46D-0F0D-43EE-BC4E-F2E7505B3218}" dt="2020-09-24T08:35:29.547" v="152" actId="14100"/>
          <ac:spMkLst>
            <pc:docMk/>
            <pc:sldMk cId="3073627176" sldId="358"/>
            <ac:spMk id="4" creationId="{00000000-0000-0000-0000-000000000000}"/>
          </ac:spMkLst>
        </pc:spChg>
        <pc:spChg chg="add mod">
          <ac:chgData name="FLAMENT, Bruno" userId="S::bruno.flament@capgemini.com::de63c4a3-01af-44ba-95bb-6f8fcaf1ef68" providerId="AD" clId="Web-{8D96B46D-0F0D-43EE-BC4E-F2E7505B3218}" dt="2020-09-24T08:42:57.005" v="261" actId="20577"/>
          <ac:spMkLst>
            <pc:docMk/>
            <pc:sldMk cId="3073627176" sldId="358"/>
            <ac:spMk id="7" creationId="{1D72B3A7-422F-4C47-B774-CCADC2DD5CE1}"/>
          </ac:spMkLst>
        </pc:spChg>
      </pc:sldChg>
      <pc:sldChg chg="delSp modSp">
        <pc:chgData name="FLAMENT, Bruno" userId="S::bruno.flament@capgemini.com::de63c4a3-01af-44ba-95bb-6f8fcaf1ef68" providerId="AD" clId="Web-{8D96B46D-0F0D-43EE-BC4E-F2E7505B3218}" dt="2020-09-24T08:45:44.789" v="283" actId="1076"/>
        <pc:sldMkLst>
          <pc:docMk/>
          <pc:sldMk cId="3020662122" sldId="359"/>
        </pc:sldMkLst>
        <pc:spChg chg="mod">
          <ac:chgData name="FLAMENT, Bruno" userId="S::bruno.flament@capgemini.com::de63c4a3-01af-44ba-95bb-6f8fcaf1ef68" providerId="AD" clId="Web-{8D96B46D-0F0D-43EE-BC4E-F2E7505B3218}" dt="2020-09-24T08:26:44.510" v="13" actId="1076"/>
          <ac:spMkLst>
            <pc:docMk/>
            <pc:sldMk cId="3020662122" sldId="359"/>
            <ac:spMk id="2" creationId="{00000000-0000-0000-0000-000000000000}"/>
          </ac:spMkLst>
        </pc:spChg>
        <pc:spChg chg="del">
          <ac:chgData name="FLAMENT, Bruno" userId="S::bruno.flament@capgemini.com::de63c4a3-01af-44ba-95bb-6f8fcaf1ef68" providerId="AD" clId="Web-{8D96B46D-0F0D-43EE-BC4E-F2E7505B3218}" dt="2020-09-24T08:26:47.213" v="14"/>
          <ac:spMkLst>
            <pc:docMk/>
            <pc:sldMk cId="3020662122" sldId="359"/>
            <ac:spMk id="3" creationId="{00000000-0000-0000-0000-000000000000}"/>
          </ac:spMkLst>
        </pc:spChg>
        <pc:spChg chg="del">
          <ac:chgData name="FLAMENT, Bruno" userId="S::bruno.flament@capgemini.com::de63c4a3-01af-44ba-95bb-6f8fcaf1ef68" providerId="AD" clId="Web-{8D96B46D-0F0D-43EE-BC4E-F2E7505B3218}" dt="2020-09-24T08:26:35.291" v="12"/>
          <ac:spMkLst>
            <pc:docMk/>
            <pc:sldMk cId="3020662122" sldId="359"/>
            <ac:spMk id="4" creationId="{00000000-0000-0000-0000-000000000000}"/>
          </ac:spMkLst>
        </pc:spChg>
        <pc:graphicFrameChg chg="mod">
          <ac:chgData name="FLAMENT, Bruno" userId="S::bruno.flament@capgemini.com::de63c4a3-01af-44ba-95bb-6f8fcaf1ef68" providerId="AD" clId="Web-{8D96B46D-0F0D-43EE-BC4E-F2E7505B3218}" dt="2020-09-24T08:45:44.789" v="283" actId="1076"/>
          <ac:graphicFrameMkLst>
            <pc:docMk/>
            <pc:sldMk cId="3020662122" sldId="359"/>
            <ac:graphicFrameMk id="6" creationId="{BADB45D4-335C-4511-ACBA-6EAF4282C4B6}"/>
          </ac:graphicFrameMkLst>
        </pc:graphicFrameChg>
        <pc:graphicFrameChg chg="mod">
          <ac:chgData name="FLAMENT, Bruno" userId="S::bruno.flament@capgemini.com::de63c4a3-01af-44ba-95bb-6f8fcaf1ef68" providerId="AD" clId="Web-{8D96B46D-0F0D-43EE-BC4E-F2E7505B3218}" dt="2020-09-24T08:45:35.538" v="282" actId="1076"/>
          <ac:graphicFrameMkLst>
            <pc:docMk/>
            <pc:sldMk cId="3020662122" sldId="359"/>
            <ac:graphicFrameMk id="7" creationId="{17E8FB3F-3D2C-4EBC-9CEB-BFFEADFC5E4A}"/>
          </ac:graphicFrameMkLst>
        </pc:graphicFrameChg>
      </pc:sldChg>
      <pc:sldChg chg="addSp delSp modSp">
        <pc:chgData name="FLAMENT, Bruno" userId="S::bruno.flament@capgemini.com::de63c4a3-01af-44ba-95bb-6f8fcaf1ef68" providerId="AD" clId="Web-{8D96B46D-0F0D-43EE-BC4E-F2E7505B3218}" dt="2020-09-24T08:44:52.100" v="281" actId="1076"/>
        <pc:sldMkLst>
          <pc:docMk/>
          <pc:sldMk cId="242967864" sldId="361"/>
        </pc:sldMkLst>
        <pc:spChg chg="mod">
          <ac:chgData name="FLAMENT, Bruno" userId="S::bruno.flament@capgemini.com::de63c4a3-01af-44ba-95bb-6f8fcaf1ef68" providerId="AD" clId="Web-{8D96B46D-0F0D-43EE-BC4E-F2E7505B3218}" dt="2020-09-24T08:29:08.386" v="42" actId="1076"/>
          <ac:spMkLst>
            <pc:docMk/>
            <pc:sldMk cId="242967864" sldId="361"/>
            <ac:spMk id="2" creationId="{00000000-0000-0000-0000-000000000000}"/>
          </ac:spMkLst>
        </pc:spChg>
        <pc:spChg chg="del mod">
          <ac:chgData name="FLAMENT, Bruno" userId="S::bruno.flament@capgemini.com::de63c4a3-01af-44ba-95bb-6f8fcaf1ef68" providerId="AD" clId="Web-{8D96B46D-0F0D-43EE-BC4E-F2E7505B3218}" dt="2020-09-24T08:28:32.042" v="27"/>
          <ac:spMkLst>
            <pc:docMk/>
            <pc:sldMk cId="242967864" sldId="361"/>
            <ac:spMk id="3" creationId="{00000000-0000-0000-0000-000000000000}"/>
          </ac:spMkLst>
        </pc:spChg>
        <pc:spChg chg="del">
          <ac:chgData name="FLAMENT, Bruno" userId="S::bruno.flament@capgemini.com::de63c4a3-01af-44ba-95bb-6f8fcaf1ef68" providerId="AD" clId="Web-{8D96B46D-0F0D-43EE-BC4E-F2E7505B3218}" dt="2020-09-24T08:28:03.995" v="21"/>
          <ac:spMkLst>
            <pc:docMk/>
            <pc:sldMk cId="242967864" sldId="361"/>
            <ac:spMk id="4" creationId="{00000000-0000-0000-0000-000000000000}"/>
          </ac:spMkLst>
        </pc:spChg>
        <pc:spChg chg="add mod">
          <ac:chgData name="FLAMENT, Bruno" userId="S::bruno.flament@capgemini.com::de63c4a3-01af-44ba-95bb-6f8fcaf1ef68" providerId="AD" clId="Web-{8D96B46D-0F0D-43EE-BC4E-F2E7505B3218}" dt="2020-09-24T08:32:27.779" v="95" actId="20577"/>
          <ac:spMkLst>
            <pc:docMk/>
            <pc:sldMk cId="242967864" sldId="361"/>
            <ac:spMk id="7" creationId="{89688EA2-5941-4AC0-A428-F9FB755FECE8}"/>
          </ac:spMkLst>
        </pc:spChg>
        <pc:picChg chg="mod">
          <ac:chgData name="FLAMENT, Bruno" userId="S::bruno.flament@capgemini.com::de63c4a3-01af-44ba-95bb-6f8fcaf1ef68" providerId="AD" clId="Web-{8D96B46D-0F0D-43EE-BC4E-F2E7505B3218}" dt="2020-09-24T08:44:52.100" v="281" actId="1076"/>
          <ac:picMkLst>
            <pc:docMk/>
            <pc:sldMk cId="242967864" sldId="361"/>
            <ac:picMk id="6" creationId="{9776B441-C90F-4968-B6EF-082939E766C6}"/>
          </ac:picMkLst>
        </pc:picChg>
      </pc:sldChg>
      <pc:sldChg chg="addSp delSp modSp del">
        <pc:chgData name="FLAMENT, Bruno" userId="S::bruno.flament@capgemini.com::de63c4a3-01af-44ba-95bb-6f8fcaf1ef68" providerId="AD" clId="Web-{8D96B46D-0F0D-43EE-BC4E-F2E7505B3218}" dt="2020-09-24T08:31:09.200" v="69"/>
        <pc:sldMkLst>
          <pc:docMk/>
          <pc:sldMk cId="469898612" sldId="363"/>
        </pc:sldMkLst>
        <pc:spChg chg="del mod">
          <ac:chgData name="FLAMENT, Bruno" userId="S::bruno.flament@capgemini.com::de63c4a3-01af-44ba-95bb-6f8fcaf1ef68" providerId="AD" clId="Web-{8D96B46D-0F0D-43EE-BC4E-F2E7505B3218}" dt="2020-09-24T08:30:49.356" v="68"/>
          <ac:spMkLst>
            <pc:docMk/>
            <pc:sldMk cId="469898612" sldId="363"/>
            <ac:spMk id="3" creationId="{00000000-0000-0000-0000-000000000000}"/>
          </ac:spMkLst>
        </pc:spChg>
        <pc:spChg chg="mod">
          <ac:chgData name="FLAMENT, Bruno" userId="S::bruno.flament@capgemini.com::de63c4a3-01af-44ba-95bb-6f8fcaf1ef68" providerId="AD" clId="Web-{8D96B46D-0F0D-43EE-BC4E-F2E7505B3218}" dt="2020-09-24T08:30:23.418" v="64" actId="1076"/>
          <ac:spMkLst>
            <pc:docMk/>
            <pc:sldMk cId="469898612" sldId="363"/>
            <ac:spMk id="4" creationId="{00000000-0000-0000-0000-000000000000}"/>
          </ac:spMkLst>
        </pc:spChg>
        <pc:spChg chg="add mod">
          <ac:chgData name="FLAMENT, Bruno" userId="S::bruno.flament@capgemini.com::de63c4a3-01af-44ba-95bb-6f8fcaf1ef68" providerId="AD" clId="Web-{8D96B46D-0F0D-43EE-BC4E-F2E7505B3218}" dt="2020-09-24T08:30:49.356" v="68"/>
          <ac:spMkLst>
            <pc:docMk/>
            <pc:sldMk cId="469898612" sldId="363"/>
            <ac:spMk id="7" creationId="{2929E15D-04C3-4D5E-ACF5-D2AFD7395221}"/>
          </ac:spMkLst>
        </pc:spChg>
      </pc:sldChg>
      <pc:sldChg chg="delSp modSp">
        <pc:chgData name="FLAMENT, Bruno" userId="S::bruno.flament@capgemini.com::de63c4a3-01af-44ba-95bb-6f8fcaf1ef68" providerId="AD" clId="Web-{8D96B46D-0F0D-43EE-BC4E-F2E7505B3218}" dt="2020-09-24T08:44:25.116" v="277" actId="14100"/>
        <pc:sldMkLst>
          <pc:docMk/>
          <pc:sldMk cId="792047584" sldId="364"/>
        </pc:sldMkLst>
        <pc:spChg chg="del">
          <ac:chgData name="FLAMENT, Bruno" userId="S::bruno.flament@capgemini.com::de63c4a3-01af-44ba-95bb-6f8fcaf1ef68" providerId="AD" clId="Web-{8D96B46D-0F0D-43EE-BC4E-F2E7505B3218}" dt="2020-09-24T08:31:26.044" v="70"/>
          <ac:spMkLst>
            <pc:docMk/>
            <pc:sldMk cId="792047584" sldId="364"/>
            <ac:spMk id="3" creationId="{00000000-0000-0000-0000-000000000000}"/>
          </ac:spMkLst>
        </pc:spChg>
        <pc:picChg chg="mod">
          <ac:chgData name="FLAMENT, Bruno" userId="S::bruno.flament@capgemini.com::de63c4a3-01af-44ba-95bb-6f8fcaf1ef68" providerId="AD" clId="Web-{8D96B46D-0F0D-43EE-BC4E-F2E7505B3218}" dt="2020-09-24T08:44:25.116" v="277" actId="14100"/>
          <ac:picMkLst>
            <pc:docMk/>
            <pc:sldMk cId="792047584" sldId="364"/>
            <ac:picMk id="6" creationId="{B04BC7EA-183A-42EE-891B-3A3CADA3AE6A}"/>
          </ac:picMkLst>
        </pc:picChg>
      </pc:sldChg>
      <pc:sldChg chg="modSp">
        <pc:chgData name="FLAMENT, Bruno" userId="S::bruno.flament@capgemini.com::de63c4a3-01af-44ba-95bb-6f8fcaf1ef68" providerId="AD" clId="Web-{8D96B46D-0F0D-43EE-BC4E-F2E7505B3218}" dt="2020-09-24T08:44:05.147" v="273" actId="1076"/>
        <pc:sldMkLst>
          <pc:docMk/>
          <pc:sldMk cId="2203204347" sldId="365"/>
        </pc:sldMkLst>
        <pc:spChg chg="mod">
          <ac:chgData name="FLAMENT, Bruno" userId="S::bruno.flament@capgemini.com::de63c4a3-01af-44ba-95bb-6f8fcaf1ef68" providerId="AD" clId="Web-{8D96B46D-0F0D-43EE-BC4E-F2E7505B3218}" dt="2020-09-24T08:44:00.944" v="271" actId="1076"/>
          <ac:spMkLst>
            <pc:docMk/>
            <pc:sldMk cId="2203204347" sldId="365"/>
            <ac:spMk id="3" creationId="{00000000-0000-0000-0000-000000000000}"/>
          </ac:spMkLst>
        </pc:spChg>
        <pc:spChg chg="mod">
          <ac:chgData name="FLAMENT, Bruno" userId="S::bruno.flament@capgemini.com::de63c4a3-01af-44ba-95bb-6f8fcaf1ef68" providerId="AD" clId="Web-{8D96B46D-0F0D-43EE-BC4E-F2E7505B3218}" dt="2020-09-24T08:33:43.171" v="140" actId="20577"/>
          <ac:spMkLst>
            <pc:docMk/>
            <pc:sldMk cId="2203204347" sldId="365"/>
            <ac:spMk id="4" creationId="{00000000-0000-0000-0000-000000000000}"/>
          </ac:spMkLst>
        </pc:spChg>
        <pc:picChg chg="mod">
          <ac:chgData name="FLAMENT, Bruno" userId="S::bruno.flament@capgemini.com::de63c4a3-01af-44ba-95bb-6f8fcaf1ef68" providerId="AD" clId="Web-{8D96B46D-0F0D-43EE-BC4E-F2E7505B3218}" dt="2020-09-24T08:44:05.147" v="273" actId="1076"/>
          <ac:picMkLst>
            <pc:docMk/>
            <pc:sldMk cId="2203204347" sldId="365"/>
            <ac:picMk id="6" creationId="{AEBADD26-10B8-4DB2-A441-5EEC84A67542}"/>
          </ac:picMkLst>
        </pc:picChg>
      </pc:sldChg>
    </pc:docChg>
  </pc:docChgLst>
  <pc:docChgLst>
    <pc:chgData name="GALASSO, Damien" userId="S::damien.galasso@capgemini.com::7f12dbef-39e8-4f8c-9127-a94d7215092c" providerId="AD" clId="Web-{60048DC8-5D63-4892-B1A5-1C00BCFC24EA}"/>
    <pc:docChg chg="addSld modSld">
      <pc:chgData name="GALASSO, Damien" userId="S::damien.galasso@capgemini.com::7f12dbef-39e8-4f8c-9127-a94d7215092c" providerId="AD" clId="Web-{60048DC8-5D63-4892-B1A5-1C00BCFC24EA}" dt="2020-09-16T08:30:00.271" v="70" actId="14100"/>
      <pc:docMkLst>
        <pc:docMk/>
      </pc:docMkLst>
      <pc:sldChg chg="addSp delSp modSp new">
        <pc:chgData name="GALASSO, Damien" userId="S::damien.galasso@capgemini.com::7f12dbef-39e8-4f8c-9127-a94d7215092c" providerId="AD" clId="Web-{60048DC8-5D63-4892-B1A5-1C00BCFC24EA}" dt="2020-09-16T08:30:00.271" v="70" actId="14100"/>
        <pc:sldMkLst>
          <pc:docMk/>
          <pc:sldMk cId="310697931" sldId="331"/>
        </pc:sldMkLst>
        <pc:spChg chg="mod">
          <ac:chgData name="GALASSO, Damien" userId="S::damien.galasso@capgemini.com::7f12dbef-39e8-4f8c-9127-a94d7215092c" providerId="AD" clId="Web-{60048DC8-5D63-4892-B1A5-1C00BCFC24EA}" dt="2020-09-16T08:29:06.615" v="63" actId="14100"/>
          <ac:spMkLst>
            <pc:docMk/>
            <pc:sldMk cId="310697931" sldId="331"/>
            <ac:spMk id="2" creationId="{2DA94B7C-5175-4E09-B033-6C398B200722}"/>
          </ac:spMkLst>
        </pc:spChg>
        <pc:picChg chg="add del mod">
          <ac:chgData name="GALASSO, Damien" userId="S::damien.galasso@capgemini.com::7f12dbef-39e8-4f8c-9127-a94d7215092c" providerId="AD" clId="Web-{60048DC8-5D63-4892-B1A5-1C00BCFC24EA}" dt="2020-09-16T08:29:18.443" v="65"/>
          <ac:picMkLst>
            <pc:docMk/>
            <pc:sldMk cId="310697931" sldId="331"/>
            <ac:picMk id="3" creationId="{AABC4369-C8C3-4477-B29A-CCDF170B9C75}"/>
          </ac:picMkLst>
        </pc:picChg>
        <pc:picChg chg="add mod">
          <ac:chgData name="GALASSO, Damien" userId="S::damien.galasso@capgemini.com::7f12dbef-39e8-4f8c-9127-a94d7215092c" providerId="AD" clId="Web-{60048DC8-5D63-4892-B1A5-1C00BCFC24EA}" dt="2020-09-16T08:30:00.271" v="70" actId="14100"/>
          <ac:picMkLst>
            <pc:docMk/>
            <pc:sldMk cId="310697931" sldId="331"/>
            <ac:picMk id="4" creationId="{EDD4F1E6-3736-436B-A174-333ECB2F7381}"/>
          </ac:picMkLst>
        </pc:picChg>
      </pc:sldChg>
    </pc:docChg>
  </pc:docChgLst>
  <pc:docChgLst>
    <pc:chgData name="FLAMENT, Bruno" userId="S::bruno.flament@capgemini.com::de63c4a3-01af-44ba-95bb-6f8fcaf1ef68" providerId="AD" clId="Web-{5CA3CFDA-FFB2-4399-FB7B-6C76F638D9C5}"/>
    <pc:docChg chg="modSld">
      <pc:chgData name="FLAMENT, Bruno" userId="S::bruno.flament@capgemini.com::de63c4a3-01af-44ba-95bb-6f8fcaf1ef68" providerId="AD" clId="Web-{5CA3CFDA-FFB2-4399-FB7B-6C76F638D9C5}" dt="2020-09-09T15:24:11.597" v="57" actId="20577"/>
      <pc:docMkLst>
        <pc:docMk/>
      </pc:docMkLst>
      <pc:sldChg chg="modSp">
        <pc:chgData name="FLAMENT, Bruno" userId="S::bruno.flament@capgemini.com::de63c4a3-01af-44ba-95bb-6f8fcaf1ef68" providerId="AD" clId="Web-{5CA3CFDA-FFB2-4399-FB7B-6C76F638D9C5}" dt="2020-09-09T15:24:11.597" v="57" actId="20577"/>
        <pc:sldMkLst>
          <pc:docMk/>
          <pc:sldMk cId="3241355600" sldId="298"/>
        </pc:sldMkLst>
        <pc:spChg chg="mod">
          <ac:chgData name="FLAMENT, Bruno" userId="S::bruno.flament@capgemini.com::de63c4a3-01af-44ba-95bb-6f8fcaf1ef68" providerId="AD" clId="Web-{5CA3CFDA-FFB2-4399-FB7B-6C76F638D9C5}" dt="2020-09-09T15:24:11.597" v="57" actId="20577"/>
          <ac:spMkLst>
            <pc:docMk/>
            <pc:sldMk cId="3241355600" sldId="298"/>
            <ac:spMk id="5" creationId="{00000000-0000-0000-0000-000000000000}"/>
          </ac:spMkLst>
        </pc:spChg>
      </pc:sldChg>
    </pc:docChg>
  </pc:docChgLst>
  <pc:docChgLst>
    <pc:chgData name="KRAIDI, Asma" userId="fa497f59-9303-418c-b767-b609bcb6ef9f" providerId="ADAL" clId="{0723A7D2-9CDE-497B-86EA-6FE3EC1065D3}"/>
    <pc:docChg chg="undo custSel addSld delSld modSld sldOrd delMainMaster">
      <pc:chgData name="KRAIDI, Asma" userId="fa497f59-9303-418c-b767-b609bcb6ef9f" providerId="ADAL" clId="{0723A7D2-9CDE-497B-86EA-6FE3EC1065D3}" dt="2020-09-23T12:05:33.960" v="1123" actId="20577"/>
      <pc:docMkLst>
        <pc:docMk/>
      </pc:docMkLst>
      <pc:sldChg chg="addSp delSp modSp ord">
        <pc:chgData name="KRAIDI, Asma" userId="fa497f59-9303-418c-b767-b609bcb6ef9f" providerId="ADAL" clId="{0723A7D2-9CDE-497B-86EA-6FE3EC1065D3}" dt="2020-09-09T09:09:29.742" v="390" actId="478"/>
        <pc:sldMkLst>
          <pc:docMk/>
          <pc:sldMk cId="0" sldId="264"/>
        </pc:sldMkLst>
        <pc:spChg chg="mod">
          <ac:chgData name="KRAIDI, Asma" userId="fa497f59-9303-418c-b767-b609bcb6ef9f" providerId="ADAL" clId="{0723A7D2-9CDE-497B-86EA-6FE3EC1065D3}" dt="2020-09-09T08:46:34.537" v="84" actId="20577"/>
          <ac:spMkLst>
            <pc:docMk/>
            <pc:sldMk cId="0" sldId="264"/>
            <ac:spMk id="4" creationId="{00000000-0000-0000-0000-000000000000}"/>
          </ac:spMkLst>
        </pc:spChg>
        <pc:spChg chg="mod">
          <ac:chgData name="KRAIDI, Asma" userId="fa497f59-9303-418c-b767-b609bcb6ef9f" providerId="ADAL" clId="{0723A7D2-9CDE-497B-86EA-6FE3EC1065D3}" dt="2020-09-09T08:40:28.494" v="74" actId="20577"/>
          <ac:spMkLst>
            <pc:docMk/>
            <pc:sldMk cId="0" sldId="264"/>
            <ac:spMk id="5" creationId="{00000000-0000-0000-0000-000000000000}"/>
          </ac:spMkLst>
        </pc:spChg>
        <pc:spChg chg="add mod">
          <ac:chgData name="KRAIDI, Asma" userId="fa497f59-9303-418c-b767-b609bcb6ef9f" providerId="ADAL" clId="{0723A7D2-9CDE-497B-86EA-6FE3EC1065D3}" dt="2020-09-09T09:03:29.112" v="228" actId="313"/>
          <ac:spMkLst>
            <pc:docMk/>
            <pc:sldMk cId="0" sldId="264"/>
            <ac:spMk id="7" creationId="{9C8F29B4-0EC7-4D72-9145-D48BCA33B2A9}"/>
          </ac:spMkLst>
        </pc:spChg>
        <pc:spChg chg="add mod">
          <ac:chgData name="KRAIDI, Asma" userId="fa497f59-9303-418c-b767-b609bcb6ef9f" providerId="ADAL" clId="{0723A7D2-9CDE-497B-86EA-6FE3EC1065D3}" dt="2020-09-09T09:05:13.393" v="289" actId="20577"/>
          <ac:spMkLst>
            <pc:docMk/>
            <pc:sldMk cId="0" sldId="264"/>
            <ac:spMk id="8" creationId="{98011BCB-97BE-468A-B821-56E53F15B9E0}"/>
          </ac:spMkLst>
        </pc:spChg>
        <pc:spChg chg="add del">
          <ac:chgData name="KRAIDI, Asma" userId="fa497f59-9303-418c-b767-b609bcb6ef9f" providerId="ADAL" clId="{0723A7D2-9CDE-497B-86EA-6FE3EC1065D3}" dt="2020-09-09T08:47:31.704" v="91" actId="478"/>
          <ac:spMkLst>
            <pc:docMk/>
            <pc:sldMk cId="0" sldId="264"/>
            <ac:spMk id="9" creationId="{1F9E3A94-4FB5-4B47-B9B7-35E761BAA47B}"/>
          </ac:spMkLst>
        </pc:spChg>
        <pc:spChg chg="add mod">
          <ac:chgData name="KRAIDI, Asma" userId="fa497f59-9303-418c-b767-b609bcb6ef9f" providerId="ADAL" clId="{0723A7D2-9CDE-497B-86EA-6FE3EC1065D3}" dt="2020-09-09T09:08:07.581" v="381" actId="5793"/>
          <ac:spMkLst>
            <pc:docMk/>
            <pc:sldMk cId="0" sldId="264"/>
            <ac:spMk id="10" creationId="{0BADD81F-6117-4EFD-A903-9C033E7319F1}"/>
          </ac:spMkLst>
        </pc:spChg>
        <pc:picChg chg="add del mod">
          <ac:chgData name="KRAIDI, Asma" userId="fa497f59-9303-418c-b767-b609bcb6ef9f" providerId="ADAL" clId="{0723A7D2-9CDE-497B-86EA-6FE3EC1065D3}" dt="2020-09-09T08:54:18.447" v="101" actId="478"/>
          <ac:picMkLst>
            <pc:docMk/>
            <pc:sldMk cId="0" sldId="264"/>
            <ac:picMk id="6" creationId="{ED1D7841-EFAE-461E-B486-86FB60C1146F}"/>
          </ac:picMkLst>
        </pc:picChg>
        <pc:picChg chg="add del mod">
          <ac:chgData name="KRAIDI, Asma" userId="fa497f59-9303-418c-b767-b609bcb6ef9f" providerId="ADAL" clId="{0723A7D2-9CDE-497B-86EA-6FE3EC1065D3}" dt="2020-09-09T08:54:18.447" v="101" actId="478"/>
          <ac:picMkLst>
            <pc:docMk/>
            <pc:sldMk cId="0" sldId="264"/>
            <ac:picMk id="59394" creationId="{DCD1592F-8349-40F6-BE7A-8D62A34AA594}"/>
          </ac:picMkLst>
        </pc:picChg>
        <pc:picChg chg="add mod">
          <ac:chgData name="KRAIDI, Asma" userId="fa497f59-9303-418c-b767-b609bcb6ef9f" providerId="ADAL" clId="{0723A7D2-9CDE-497B-86EA-6FE3EC1065D3}" dt="2020-09-09T08:54:41.926" v="108" actId="1076"/>
          <ac:picMkLst>
            <pc:docMk/>
            <pc:sldMk cId="0" sldId="264"/>
            <ac:picMk id="59396" creationId="{CD3795F7-DC3B-42B9-B8E8-2C7689B0EA1B}"/>
          </ac:picMkLst>
        </pc:picChg>
        <pc:cxnChg chg="add del mod">
          <ac:chgData name="KRAIDI, Asma" userId="fa497f59-9303-418c-b767-b609bcb6ef9f" providerId="ADAL" clId="{0723A7D2-9CDE-497B-86EA-6FE3EC1065D3}" dt="2020-09-09T09:08:36.610" v="383" actId="478"/>
          <ac:cxnSpMkLst>
            <pc:docMk/>
            <pc:sldMk cId="0" sldId="264"/>
            <ac:cxnSpMk id="3" creationId="{E46CEAD2-D8C2-4E9C-B0CD-8C18FD88CD7F}"/>
          </ac:cxnSpMkLst>
        </pc:cxnChg>
        <pc:cxnChg chg="add del mod">
          <ac:chgData name="KRAIDI, Asma" userId="fa497f59-9303-418c-b767-b609bcb6ef9f" providerId="ADAL" clId="{0723A7D2-9CDE-497B-86EA-6FE3EC1065D3}" dt="2020-09-09T09:09:29.742" v="390" actId="478"/>
          <ac:cxnSpMkLst>
            <pc:docMk/>
            <pc:sldMk cId="0" sldId="264"/>
            <ac:cxnSpMk id="12" creationId="{89DB8F4B-1B72-461E-951D-C97D7CE01C87}"/>
          </ac:cxnSpMkLst>
        </pc:cxnChg>
      </pc:sldChg>
      <pc:sldChg chg="addSp delSp modSp ord">
        <pc:chgData name="KRAIDI, Asma" userId="fa497f59-9303-418c-b767-b609bcb6ef9f" providerId="ADAL" clId="{0723A7D2-9CDE-497B-86EA-6FE3EC1065D3}" dt="2020-09-09T11:14:14.461" v="466" actId="14100"/>
        <pc:sldMkLst>
          <pc:docMk/>
          <pc:sldMk cId="0" sldId="265"/>
        </pc:sldMkLst>
        <pc:spChg chg="add del mod">
          <ac:chgData name="KRAIDI, Asma" userId="fa497f59-9303-418c-b767-b609bcb6ef9f" providerId="ADAL" clId="{0723A7D2-9CDE-497B-86EA-6FE3EC1065D3}" dt="2020-09-09T09:45:16.829" v="452" actId="478"/>
          <ac:spMkLst>
            <pc:docMk/>
            <pc:sldMk cId="0" sldId="265"/>
            <ac:spMk id="3" creationId="{436C2225-FC32-48D6-B018-DCA2B9C051B3}"/>
          </ac:spMkLst>
        </pc:spChg>
        <pc:spChg chg="mod">
          <ac:chgData name="KRAIDI, Asma" userId="fa497f59-9303-418c-b767-b609bcb6ef9f" providerId="ADAL" clId="{0723A7D2-9CDE-497B-86EA-6FE3EC1065D3}" dt="2020-09-09T09:10:31.248" v="402" actId="20577"/>
          <ac:spMkLst>
            <pc:docMk/>
            <pc:sldMk cId="0" sldId="265"/>
            <ac:spMk id="4" creationId="{00000000-0000-0000-0000-000000000000}"/>
          </ac:spMkLst>
        </pc:spChg>
        <pc:spChg chg="mod">
          <ac:chgData name="KRAIDI, Asma" userId="fa497f59-9303-418c-b767-b609bcb6ef9f" providerId="ADAL" clId="{0723A7D2-9CDE-497B-86EA-6FE3EC1065D3}" dt="2020-09-09T09:45:33.363" v="454" actId="1076"/>
          <ac:spMkLst>
            <pc:docMk/>
            <pc:sldMk cId="0" sldId="265"/>
            <ac:spMk id="5" creationId="{00000000-0000-0000-0000-000000000000}"/>
          </ac:spMkLst>
        </pc:spChg>
        <pc:spChg chg="del mod">
          <ac:chgData name="KRAIDI, Asma" userId="fa497f59-9303-418c-b767-b609bcb6ef9f" providerId="ADAL" clId="{0723A7D2-9CDE-497B-86EA-6FE3EC1065D3}" dt="2020-09-09T09:45:14.974" v="451" actId="478"/>
          <ac:spMkLst>
            <pc:docMk/>
            <pc:sldMk cId="0" sldId="265"/>
            <ac:spMk id="6" creationId="{00000000-0000-0000-0000-000000000000}"/>
          </ac:spMkLst>
        </pc:spChg>
        <pc:picChg chg="add del mod">
          <ac:chgData name="KRAIDI, Asma" userId="fa497f59-9303-418c-b767-b609bcb6ef9f" providerId="ADAL" clId="{0723A7D2-9CDE-497B-86EA-6FE3EC1065D3}" dt="2020-09-09T09:48:47.760" v="459" actId="478"/>
          <ac:picMkLst>
            <pc:docMk/>
            <pc:sldMk cId="0" sldId="265"/>
            <ac:picMk id="60418" creationId="{A60DFF83-0A34-4886-A92B-F99126425B54}"/>
          </ac:picMkLst>
        </pc:picChg>
        <pc:picChg chg="add del">
          <ac:chgData name="KRAIDI, Asma" userId="fa497f59-9303-418c-b767-b609bcb6ef9f" providerId="ADAL" clId="{0723A7D2-9CDE-497B-86EA-6FE3EC1065D3}" dt="2020-09-09T11:13:46.988" v="461" actId="478"/>
          <ac:picMkLst>
            <pc:docMk/>
            <pc:sldMk cId="0" sldId="265"/>
            <ac:picMk id="60420" creationId="{744FC3F1-995E-43BE-A5BB-C396CEC02743}"/>
          </ac:picMkLst>
        </pc:picChg>
        <pc:picChg chg="add mod">
          <ac:chgData name="KRAIDI, Asma" userId="fa497f59-9303-418c-b767-b609bcb6ef9f" providerId="ADAL" clId="{0723A7D2-9CDE-497B-86EA-6FE3EC1065D3}" dt="2020-09-09T11:14:14.461" v="466" actId="14100"/>
          <ac:picMkLst>
            <pc:docMk/>
            <pc:sldMk cId="0" sldId="265"/>
            <ac:picMk id="60422" creationId="{ECA8EFEF-B30E-47BF-B91C-F2BDF2DE498E}"/>
          </ac:picMkLst>
        </pc:picChg>
      </pc:sldChg>
      <pc:sldChg chg="addSp modSp add del">
        <pc:chgData name="KRAIDI, Asma" userId="fa497f59-9303-418c-b767-b609bcb6ef9f" providerId="ADAL" clId="{0723A7D2-9CDE-497B-86EA-6FE3EC1065D3}" dt="2020-09-23T09:05:12.373" v="975" actId="2696"/>
        <pc:sldMkLst>
          <pc:docMk/>
          <pc:sldMk cId="0" sldId="272"/>
        </pc:sldMkLst>
        <pc:spChg chg="add mod">
          <ac:chgData name="KRAIDI, Asma" userId="fa497f59-9303-418c-b767-b609bcb6ef9f" providerId="ADAL" clId="{0723A7D2-9CDE-497B-86EA-6FE3EC1065D3}" dt="2020-09-09T11:45:41.151" v="973"/>
          <ac:spMkLst>
            <pc:docMk/>
            <pc:sldMk cId="0" sldId="272"/>
            <ac:spMk id="2" creationId="{8F1E6229-8CE4-4CC6-99E6-C1C33022D005}"/>
          </ac:spMkLst>
        </pc:spChg>
      </pc:sldChg>
      <pc:sldChg chg="delSp modSp">
        <pc:chgData name="KRAIDI, Asma" userId="fa497f59-9303-418c-b767-b609bcb6ef9f" providerId="ADAL" clId="{0723A7D2-9CDE-497B-86EA-6FE3EC1065D3}" dt="2020-09-09T08:39:57.007" v="68" actId="20577"/>
        <pc:sldMkLst>
          <pc:docMk/>
          <pc:sldMk cId="3942090603" sldId="295"/>
        </pc:sldMkLst>
        <pc:spChg chg="mod">
          <ac:chgData name="KRAIDI, Asma" userId="fa497f59-9303-418c-b767-b609bcb6ef9f" providerId="ADAL" clId="{0723A7D2-9CDE-497B-86EA-6FE3EC1065D3}" dt="2020-09-09T08:39:23.837" v="26" actId="313"/>
          <ac:spMkLst>
            <pc:docMk/>
            <pc:sldMk cId="3942090603" sldId="295"/>
            <ac:spMk id="4" creationId="{00000000-0000-0000-0000-000000000000}"/>
          </ac:spMkLst>
        </pc:spChg>
        <pc:spChg chg="mod">
          <ac:chgData name="KRAIDI, Asma" userId="fa497f59-9303-418c-b767-b609bcb6ef9f" providerId="ADAL" clId="{0723A7D2-9CDE-497B-86EA-6FE3EC1065D3}" dt="2020-09-09T08:39:57.007" v="68" actId="20577"/>
          <ac:spMkLst>
            <pc:docMk/>
            <pc:sldMk cId="3942090603" sldId="295"/>
            <ac:spMk id="5" creationId="{00000000-0000-0000-0000-000000000000}"/>
          </ac:spMkLst>
        </pc:spChg>
        <pc:spChg chg="del">
          <ac:chgData name="KRAIDI, Asma" userId="fa497f59-9303-418c-b767-b609bcb6ef9f" providerId="ADAL" clId="{0723A7D2-9CDE-497B-86EA-6FE3EC1065D3}" dt="2020-09-09T08:38:55.234" v="0" actId="478"/>
          <ac:spMkLst>
            <pc:docMk/>
            <pc:sldMk cId="3942090603" sldId="295"/>
            <ac:spMk id="9" creationId="{00000000-0000-0000-0000-000000000000}"/>
          </ac:spMkLst>
        </pc:spChg>
      </pc:sldChg>
      <pc:sldChg chg="modSp add del">
        <pc:chgData name="KRAIDI, Asma" userId="fa497f59-9303-418c-b767-b609bcb6ef9f" providerId="ADAL" clId="{0723A7D2-9CDE-497B-86EA-6FE3EC1065D3}" dt="2020-09-09T11:14:48.485" v="471"/>
        <pc:sldMkLst>
          <pc:docMk/>
          <pc:sldMk cId="1251357887" sldId="306"/>
        </pc:sldMkLst>
        <pc:spChg chg="mod">
          <ac:chgData name="KRAIDI, Asma" userId="fa497f59-9303-418c-b767-b609bcb6ef9f" providerId="ADAL" clId="{0723A7D2-9CDE-497B-86EA-6FE3EC1065D3}" dt="2020-09-09T11:14:47.686" v="470" actId="20577"/>
          <ac:spMkLst>
            <pc:docMk/>
            <pc:sldMk cId="1251357887" sldId="306"/>
            <ac:spMk id="2" creationId="{9FB97586-7839-44FE-8B3A-3B5386887D23}"/>
          </ac:spMkLst>
        </pc:spChg>
      </pc:sldChg>
      <pc:sldChg chg="addSp delSp modSp add">
        <pc:chgData name="KRAIDI, Asma" userId="fa497f59-9303-418c-b767-b609bcb6ef9f" providerId="ADAL" clId="{0723A7D2-9CDE-497B-86EA-6FE3EC1065D3}" dt="2020-09-09T11:20:39.069" v="673" actId="20577"/>
        <pc:sldMkLst>
          <pc:docMk/>
          <pc:sldMk cId="2716846013" sldId="306"/>
        </pc:sldMkLst>
        <pc:spChg chg="mod">
          <ac:chgData name="KRAIDI, Asma" userId="fa497f59-9303-418c-b767-b609bcb6ef9f" providerId="ADAL" clId="{0723A7D2-9CDE-497B-86EA-6FE3EC1065D3}" dt="2020-09-09T11:14:58.708" v="485" actId="20577"/>
          <ac:spMkLst>
            <pc:docMk/>
            <pc:sldMk cId="2716846013" sldId="306"/>
            <ac:spMk id="2" creationId="{820E3D9B-E2BB-479A-B41D-4A929FE11075}"/>
          </ac:spMkLst>
        </pc:spChg>
        <pc:spChg chg="mod">
          <ac:chgData name="KRAIDI, Asma" userId="fa497f59-9303-418c-b767-b609bcb6ef9f" providerId="ADAL" clId="{0723A7D2-9CDE-497B-86EA-6FE3EC1065D3}" dt="2020-09-09T11:20:39.069" v="673" actId="20577"/>
          <ac:spMkLst>
            <pc:docMk/>
            <pc:sldMk cId="2716846013" sldId="306"/>
            <ac:spMk id="3" creationId="{D656B652-C7E9-42C5-AEEE-72EF1D0EE89B}"/>
          </ac:spMkLst>
        </pc:spChg>
        <pc:spChg chg="del mod">
          <ac:chgData name="KRAIDI, Asma" userId="fa497f59-9303-418c-b767-b609bcb6ef9f" providerId="ADAL" clId="{0723A7D2-9CDE-497B-86EA-6FE3EC1065D3}" dt="2020-09-09T11:15:07.002" v="487" actId="478"/>
          <ac:spMkLst>
            <pc:docMk/>
            <pc:sldMk cId="2716846013" sldId="306"/>
            <ac:spMk id="4" creationId="{6DC83BF4-E9BA-4416-907C-DD0F78153DCB}"/>
          </ac:spMkLst>
        </pc:spChg>
        <pc:spChg chg="add del">
          <ac:chgData name="KRAIDI, Asma" userId="fa497f59-9303-418c-b767-b609bcb6ef9f" providerId="ADAL" clId="{0723A7D2-9CDE-497B-86EA-6FE3EC1065D3}" dt="2020-09-09T11:16:54.962" v="528"/>
          <ac:spMkLst>
            <pc:docMk/>
            <pc:sldMk cId="2716846013" sldId="306"/>
            <ac:spMk id="5" creationId="{537272B5-7007-4A5F-AEF1-96F68C3E8D93}"/>
          </ac:spMkLst>
        </pc:spChg>
        <pc:spChg chg="add del">
          <ac:chgData name="KRAIDI, Asma" userId="fa497f59-9303-418c-b767-b609bcb6ef9f" providerId="ADAL" clId="{0723A7D2-9CDE-497B-86EA-6FE3EC1065D3}" dt="2020-09-09T11:16:57.944" v="530"/>
          <ac:spMkLst>
            <pc:docMk/>
            <pc:sldMk cId="2716846013" sldId="306"/>
            <ac:spMk id="6" creationId="{9656D7F8-6D82-4300-AED2-CEF86632BFF2}"/>
          </ac:spMkLst>
        </pc:spChg>
        <pc:spChg chg="add del">
          <ac:chgData name="KRAIDI, Asma" userId="fa497f59-9303-418c-b767-b609bcb6ef9f" providerId="ADAL" clId="{0723A7D2-9CDE-497B-86EA-6FE3EC1065D3}" dt="2020-09-09T11:17:02.912" v="540"/>
          <ac:spMkLst>
            <pc:docMk/>
            <pc:sldMk cId="2716846013" sldId="306"/>
            <ac:spMk id="7" creationId="{CF40BBE2-340D-4D14-8705-BFF4F8AAF54E}"/>
          </ac:spMkLst>
        </pc:spChg>
        <pc:spChg chg="add del mod">
          <ac:chgData name="KRAIDI, Asma" userId="fa497f59-9303-418c-b767-b609bcb6ef9f" providerId="ADAL" clId="{0723A7D2-9CDE-497B-86EA-6FE3EC1065D3}" dt="2020-09-09T11:17:15.061" v="546"/>
          <ac:spMkLst>
            <pc:docMk/>
            <pc:sldMk cId="2716846013" sldId="306"/>
            <ac:spMk id="8" creationId="{BA02DFD1-95A6-418F-B925-A63A3A01E1F6}"/>
          </ac:spMkLst>
        </pc:spChg>
        <pc:spChg chg="add del">
          <ac:chgData name="KRAIDI, Asma" userId="fa497f59-9303-418c-b767-b609bcb6ef9f" providerId="ADAL" clId="{0723A7D2-9CDE-497B-86EA-6FE3EC1065D3}" dt="2020-09-09T11:17:22.675" v="553"/>
          <ac:spMkLst>
            <pc:docMk/>
            <pc:sldMk cId="2716846013" sldId="306"/>
            <ac:spMk id="9" creationId="{848322D6-DE21-46ED-84CE-20985660EF25}"/>
          </ac:spMkLst>
        </pc:spChg>
        <pc:spChg chg="add mod">
          <ac:chgData name="KRAIDI, Asma" userId="fa497f59-9303-418c-b767-b609bcb6ef9f" providerId="ADAL" clId="{0723A7D2-9CDE-497B-86EA-6FE3EC1065D3}" dt="2020-09-09T11:18:56.062" v="613" actId="20577"/>
          <ac:spMkLst>
            <pc:docMk/>
            <pc:sldMk cId="2716846013" sldId="306"/>
            <ac:spMk id="10" creationId="{DD98ED20-0D3D-459C-BFB3-4A48D7F80CEC}"/>
          </ac:spMkLst>
        </pc:spChg>
      </pc:sldChg>
      <pc:sldChg chg="add del">
        <pc:chgData name="KRAIDI, Asma" userId="fa497f59-9303-418c-b767-b609bcb6ef9f" providerId="ADAL" clId="{0723A7D2-9CDE-497B-86EA-6FE3EC1065D3}" dt="2020-09-09T11:26:40.034" v="728" actId="2696"/>
        <pc:sldMkLst>
          <pc:docMk/>
          <pc:sldMk cId="308444167" sldId="307"/>
        </pc:sldMkLst>
      </pc:sldChg>
      <pc:sldChg chg="add del">
        <pc:chgData name="KRAIDI, Asma" userId="fa497f59-9303-418c-b767-b609bcb6ef9f" providerId="ADAL" clId="{0723A7D2-9CDE-497B-86EA-6FE3EC1065D3}" dt="2020-09-09T11:23:15.102" v="680" actId="2696"/>
        <pc:sldMkLst>
          <pc:docMk/>
          <pc:sldMk cId="2002547476" sldId="307"/>
        </pc:sldMkLst>
      </pc:sldChg>
      <pc:sldChg chg="addSp delSp add del">
        <pc:chgData name="KRAIDI, Asma" userId="fa497f59-9303-418c-b767-b609bcb6ef9f" providerId="ADAL" clId="{0723A7D2-9CDE-497B-86EA-6FE3EC1065D3}" dt="2020-09-09T11:22:39.723" v="677" actId="2696"/>
        <pc:sldMkLst>
          <pc:docMk/>
          <pc:sldMk cId="3119772143" sldId="307"/>
        </pc:sldMkLst>
        <pc:spChg chg="add del">
          <ac:chgData name="KRAIDI, Asma" userId="fa497f59-9303-418c-b767-b609bcb6ef9f" providerId="ADAL" clId="{0723A7D2-9CDE-497B-86EA-6FE3EC1065D3}" dt="2020-09-09T11:22:05.454" v="676"/>
          <ac:spMkLst>
            <pc:docMk/>
            <pc:sldMk cId="3119772143" sldId="307"/>
            <ac:spMk id="5" creationId="{99B09A87-9349-4F98-B3A2-CA2C5032A090}"/>
          </ac:spMkLst>
        </pc:spChg>
        <pc:spChg chg="add del">
          <ac:chgData name="KRAIDI, Asma" userId="fa497f59-9303-418c-b767-b609bcb6ef9f" providerId="ADAL" clId="{0723A7D2-9CDE-497B-86EA-6FE3EC1065D3}" dt="2020-09-09T11:22:05.454" v="676"/>
          <ac:spMkLst>
            <pc:docMk/>
            <pc:sldMk cId="3119772143" sldId="307"/>
            <ac:spMk id="6" creationId="{A6BD2159-1FB5-481D-814D-68671BC7ABF5}"/>
          </ac:spMkLst>
        </pc:spChg>
        <pc:spChg chg="add del">
          <ac:chgData name="KRAIDI, Asma" userId="fa497f59-9303-418c-b767-b609bcb6ef9f" providerId="ADAL" clId="{0723A7D2-9CDE-497B-86EA-6FE3EC1065D3}" dt="2020-09-09T11:22:05.454" v="676"/>
          <ac:spMkLst>
            <pc:docMk/>
            <pc:sldMk cId="3119772143" sldId="307"/>
            <ac:spMk id="7" creationId="{F83ECC75-A6EB-4C68-B2A4-38CBBD26643E}"/>
          </ac:spMkLst>
        </pc:spChg>
        <pc:spChg chg="add del">
          <ac:chgData name="KRAIDI, Asma" userId="fa497f59-9303-418c-b767-b609bcb6ef9f" providerId="ADAL" clId="{0723A7D2-9CDE-497B-86EA-6FE3EC1065D3}" dt="2020-09-09T11:22:05.454" v="676"/>
          <ac:spMkLst>
            <pc:docMk/>
            <pc:sldMk cId="3119772143" sldId="307"/>
            <ac:spMk id="8" creationId="{B111557B-0D5A-4A00-8928-715E50E7406A}"/>
          </ac:spMkLst>
        </pc:spChg>
        <pc:spChg chg="add del">
          <ac:chgData name="KRAIDI, Asma" userId="fa497f59-9303-418c-b767-b609bcb6ef9f" providerId="ADAL" clId="{0723A7D2-9CDE-497B-86EA-6FE3EC1065D3}" dt="2020-09-09T11:22:05.454" v="676"/>
          <ac:spMkLst>
            <pc:docMk/>
            <pc:sldMk cId="3119772143" sldId="307"/>
            <ac:spMk id="9" creationId="{E1673083-85C1-4024-82C7-D4F451F71648}"/>
          </ac:spMkLst>
        </pc:spChg>
        <pc:spChg chg="add del">
          <ac:chgData name="KRAIDI, Asma" userId="fa497f59-9303-418c-b767-b609bcb6ef9f" providerId="ADAL" clId="{0723A7D2-9CDE-497B-86EA-6FE3EC1065D3}" dt="2020-09-09T11:22:05.454" v="676"/>
          <ac:spMkLst>
            <pc:docMk/>
            <pc:sldMk cId="3119772143" sldId="307"/>
            <ac:spMk id="10" creationId="{A40CE8A1-D9D9-4FD3-B2D4-D3750CA75A7A}"/>
          </ac:spMkLst>
        </pc:spChg>
      </pc:sldChg>
      <pc:sldChg chg="add del">
        <pc:chgData name="KRAIDI, Asma" userId="fa497f59-9303-418c-b767-b609bcb6ef9f" providerId="ADAL" clId="{0723A7D2-9CDE-497B-86EA-6FE3EC1065D3}" dt="2020-09-09T11:25:23.656" v="713" actId="2696"/>
        <pc:sldMkLst>
          <pc:docMk/>
          <pc:sldMk cId="4263877021" sldId="307"/>
        </pc:sldMkLst>
      </pc:sldChg>
      <pc:sldChg chg="addSp modSp add del">
        <pc:chgData name="KRAIDI, Asma" userId="fa497f59-9303-418c-b767-b609bcb6ef9f" providerId="ADAL" clId="{0723A7D2-9CDE-497B-86EA-6FE3EC1065D3}" dt="2020-09-23T09:06:11.039" v="976" actId="2696"/>
        <pc:sldMkLst>
          <pc:docMk/>
          <pc:sldMk cId="0" sldId="308"/>
        </pc:sldMkLst>
        <pc:spChg chg="add mod">
          <ac:chgData name="KRAIDI, Asma" userId="fa497f59-9303-418c-b767-b609bcb6ef9f" providerId="ADAL" clId="{0723A7D2-9CDE-497B-86EA-6FE3EC1065D3}" dt="2020-09-09T11:26:55.599" v="729"/>
          <ac:spMkLst>
            <pc:docMk/>
            <pc:sldMk cId="0" sldId="308"/>
            <ac:spMk id="2" creationId="{FD39E380-963D-4463-8BD2-83BB01220E4E}"/>
          </ac:spMkLst>
        </pc:spChg>
        <pc:spChg chg="mod">
          <ac:chgData name="KRAIDI, Asma" userId="fa497f59-9303-418c-b767-b609bcb6ef9f" providerId="ADAL" clId="{0723A7D2-9CDE-497B-86EA-6FE3EC1065D3}" dt="2020-09-09T11:26:32.990" v="727" actId="1076"/>
          <ac:spMkLst>
            <pc:docMk/>
            <pc:sldMk cId="0" sldId="308"/>
            <ac:spMk id="219" creationId="{00000000-0000-0000-0000-000000000000}"/>
          </ac:spMkLst>
        </pc:spChg>
        <pc:spChg chg="mod">
          <ac:chgData name="KRAIDI, Asma" userId="fa497f59-9303-418c-b767-b609bcb6ef9f" providerId="ADAL" clId="{0723A7D2-9CDE-497B-86EA-6FE3EC1065D3}" dt="2020-09-09T11:27:55.916" v="771" actId="14100"/>
          <ac:spMkLst>
            <pc:docMk/>
            <pc:sldMk cId="0" sldId="308"/>
            <ac:spMk id="220" creationId="{00000000-0000-0000-0000-000000000000}"/>
          </ac:spMkLst>
        </pc:spChg>
        <pc:spChg chg="mod">
          <ac:chgData name="KRAIDI, Asma" userId="fa497f59-9303-418c-b767-b609bcb6ef9f" providerId="ADAL" clId="{0723A7D2-9CDE-497B-86EA-6FE3EC1065D3}" dt="2020-09-09T11:27:51.270" v="770" actId="14100"/>
          <ac:spMkLst>
            <pc:docMk/>
            <pc:sldMk cId="0" sldId="308"/>
            <ac:spMk id="221" creationId="{00000000-0000-0000-0000-000000000000}"/>
          </ac:spMkLst>
        </pc:spChg>
      </pc:sldChg>
      <pc:sldChg chg="addSp modSp add del">
        <pc:chgData name="KRAIDI, Asma" userId="fa497f59-9303-418c-b767-b609bcb6ef9f" providerId="ADAL" clId="{0723A7D2-9CDE-497B-86EA-6FE3EC1065D3}" dt="2020-09-09T11:23:36.294" v="684" actId="2696"/>
        <pc:sldMkLst>
          <pc:docMk/>
          <pc:sldMk cId="467224575" sldId="308"/>
        </pc:sldMkLst>
        <pc:picChg chg="add mod">
          <ac:chgData name="KRAIDI, Asma" userId="fa497f59-9303-418c-b767-b609bcb6ef9f" providerId="ADAL" clId="{0723A7D2-9CDE-497B-86EA-6FE3EC1065D3}" dt="2020-09-09T11:23:30.312" v="683" actId="1076"/>
          <ac:picMkLst>
            <pc:docMk/>
            <pc:sldMk cId="467224575" sldId="308"/>
            <ac:picMk id="5" creationId="{EF1B6D56-F776-432F-B953-82EA427F223C}"/>
          </ac:picMkLst>
        </pc:picChg>
      </pc:sldChg>
      <pc:sldChg chg="add del">
        <pc:chgData name="KRAIDI, Asma" userId="fa497f59-9303-418c-b767-b609bcb6ef9f" providerId="ADAL" clId="{0723A7D2-9CDE-497B-86EA-6FE3EC1065D3}" dt="2020-09-09T11:24:22.427" v="688" actId="2696"/>
        <pc:sldMkLst>
          <pc:docMk/>
          <pc:sldMk cId="0" sldId="309"/>
        </pc:sldMkLst>
      </pc:sldChg>
      <pc:sldChg chg="add del">
        <pc:chgData name="KRAIDI, Asma" userId="fa497f59-9303-418c-b767-b609bcb6ef9f" providerId="ADAL" clId="{0723A7D2-9CDE-497B-86EA-6FE3EC1065D3}" dt="2020-09-09T11:25:46.931" v="718" actId="2696"/>
        <pc:sldMkLst>
          <pc:docMk/>
          <pc:sldMk cId="519860593" sldId="309"/>
        </pc:sldMkLst>
      </pc:sldChg>
      <pc:sldChg chg="add del">
        <pc:chgData name="KRAIDI, Asma" userId="fa497f59-9303-418c-b767-b609bcb6ef9f" providerId="ADAL" clId="{0723A7D2-9CDE-497B-86EA-6FE3EC1065D3}" dt="2020-09-09T11:25:30.152" v="715" actId="2696"/>
        <pc:sldMkLst>
          <pc:docMk/>
          <pc:sldMk cId="942940888" sldId="309"/>
        </pc:sldMkLst>
      </pc:sldChg>
      <pc:sldChg chg="add del">
        <pc:chgData name="KRAIDI, Asma" userId="fa497f59-9303-418c-b767-b609bcb6ef9f" providerId="ADAL" clId="{0723A7D2-9CDE-497B-86EA-6FE3EC1065D3}" dt="2020-09-09T11:38:08.068" v="943" actId="2696"/>
        <pc:sldMkLst>
          <pc:docMk/>
          <pc:sldMk cId="3242642292" sldId="309"/>
        </pc:sldMkLst>
      </pc:sldChg>
      <pc:sldChg chg="addSp delSp modSp add del">
        <pc:chgData name="KRAIDI, Asma" userId="fa497f59-9303-418c-b767-b609bcb6ef9f" providerId="ADAL" clId="{0723A7D2-9CDE-497B-86EA-6FE3EC1065D3}" dt="2020-09-23T11:54:05.885" v="1033" actId="20577"/>
        <pc:sldMkLst>
          <pc:docMk/>
          <pc:sldMk cId="0" sldId="310"/>
        </pc:sldMkLst>
        <pc:spChg chg="add mod">
          <ac:chgData name="KRAIDI, Asma" userId="fa497f59-9303-418c-b767-b609bcb6ef9f" providerId="ADAL" clId="{0723A7D2-9CDE-497B-86EA-6FE3EC1065D3}" dt="2020-09-23T11:54:05.885" v="1033" actId="20577"/>
          <ac:spMkLst>
            <pc:docMk/>
            <pc:sldMk cId="0" sldId="310"/>
            <ac:spMk id="2" creationId="{E1D1D60C-2CCF-4D10-B029-869CDACCB919}"/>
          </ac:spMkLst>
        </pc:spChg>
        <pc:spChg chg="del mod">
          <ac:chgData name="KRAIDI, Asma" userId="fa497f59-9303-418c-b767-b609bcb6ef9f" providerId="ADAL" clId="{0723A7D2-9CDE-497B-86EA-6FE3EC1065D3}" dt="2020-09-09T11:37:33.531" v="933" actId="478"/>
          <ac:spMkLst>
            <pc:docMk/>
            <pc:sldMk cId="0" sldId="310"/>
            <ac:spMk id="183" creationId="{00000000-0000-0000-0000-000000000000}"/>
          </ac:spMkLst>
        </pc:spChg>
        <pc:spChg chg="mod">
          <ac:chgData name="KRAIDI, Asma" userId="fa497f59-9303-418c-b767-b609bcb6ef9f" providerId="ADAL" clId="{0723A7D2-9CDE-497B-86EA-6FE3EC1065D3}" dt="2020-09-09T11:37:42.207" v="941" actId="14100"/>
          <ac:spMkLst>
            <pc:docMk/>
            <pc:sldMk cId="0" sldId="310"/>
            <ac:spMk id="184" creationId="{00000000-0000-0000-0000-000000000000}"/>
          </ac:spMkLst>
        </pc:spChg>
        <pc:picChg chg="mod">
          <ac:chgData name="KRAIDI, Asma" userId="fa497f59-9303-418c-b767-b609bcb6ef9f" providerId="ADAL" clId="{0723A7D2-9CDE-497B-86EA-6FE3EC1065D3}" dt="2020-09-09T11:37:44.175" v="942" actId="1076"/>
          <ac:picMkLst>
            <pc:docMk/>
            <pc:sldMk cId="0" sldId="310"/>
            <ac:picMk id="185" creationId="{00000000-0000-0000-0000-000000000000}"/>
          </ac:picMkLst>
        </pc:picChg>
      </pc:sldChg>
      <pc:sldChg chg="add del">
        <pc:chgData name="KRAIDI, Asma" userId="fa497f59-9303-418c-b767-b609bcb6ef9f" providerId="ADAL" clId="{0723A7D2-9CDE-497B-86EA-6FE3EC1065D3}" dt="2020-09-09T11:25:21.362" v="712" actId="2696"/>
        <pc:sldMkLst>
          <pc:docMk/>
          <pc:sldMk cId="1451213184" sldId="310"/>
        </pc:sldMkLst>
      </pc:sldChg>
      <pc:sldChg chg="addSp delSp modSp add del">
        <pc:chgData name="KRAIDI, Asma" userId="fa497f59-9303-418c-b767-b609bcb6ef9f" providerId="ADAL" clId="{0723A7D2-9CDE-497B-86EA-6FE3EC1065D3}" dt="2020-09-23T11:53:37.003" v="1024" actId="2696"/>
        <pc:sldMkLst>
          <pc:docMk/>
          <pc:sldMk cId="0" sldId="311"/>
        </pc:sldMkLst>
        <pc:spChg chg="add del mod">
          <ac:chgData name="KRAIDI, Asma" userId="fa497f59-9303-418c-b767-b609bcb6ef9f" providerId="ADAL" clId="{0723A7D2-9CDE-497B-86EA-6FE3EC1065D3}" dt="2020-09-09T11:31:16.635" v="904" actId="20577"/>
          <ac:spMkLst>
            <pc:docMk/>
            <pc:sldMk cId="0" sldId="311"/>
            <ac:spMk id="2" creationId="{E45F5955-68F2-4EA3-A772-213F7216EE4E}"/>
          </ac:spMkLst>
        </pc:spChg>
        <pc:spChg chg="add del">
          <ac:chgData name="KRAIDI, Asma" userId="fa497f59-9303-418c-b767-b609bcb6ef9f" providerId="ADAL" clId="{0723A7D2-9CDE-497B-86EA-6FE3EC1065D3}" dt="2020-09-09T11:29:59.660" v="779"/>
          <ac:spMkLst>
            <pc:docMk/>
            <pc:sldMk cId="0" sldId="311"/>
            <ac:spMk id="3" creationId="{D8A9A61F-C610-43AD-A8C9-0CA049539CF5}"/>
          </ac:spMkLst>
        </pc:spChg>
        <pc:spChg chg="add del mod">
          <ac:chgData name="KRAIDI, Asma" userId="fa497f59-9303-418c-b767-b609bcb6ef9f" providerId="ADAL" clId="{0723A7D2-9CDE-497B-86EA-6FE3EC1065D3}" dt="2020-09-09T11:31:27.166" v="907" actId="478"/>
          <ac:spMkLst>
            <pc:docMk/>
            <pc:sldMk cId="0" sldId="311"/>
            <ac:spMk id="4" creationId="{52C70BE7-B4E6-46B5-8246-F5B55336426C}"/>
          </ac:spMkLst>
        </pc:spChg>
        <pc:spChg chg="add del mod">
          <ac:chgData name="KRAIDI, Asma" userId="fa497f59-9303-418c-b767-b609bcb6ef9f" providerId="ADAL" clId="{0723A7D2-9CDE-497B-86EA-6FE3EC1065D3}" dt="2020-09-09T11:30:02.985" v="781" actId="478"/>
          <ac:spMkLst>
            <pc:docMk/>
            <pc:sldMk cId="0" sldId="311"/>
            <ac:spMk id="191" creationId="{00000000-0000-0000-0000-000000000000}"/>
          </ac:spMkLst>
        </pc:spChg>
      </pc:sldChg>
      <pc:sldChg chg="add del">
        <pc:chgData name="KRAIDI, Asma" userId="fa497f59-9303-418c-b767-b609bcb6ef9f" providerId="ADAL" clId="{0723A7D2-9CDE-497B-86EA-6FE3EC1065D3}" dt="2020-09-09T11:25:27.108" v="714" actId="2696"/>
        <pc:sldMkLst>
          <pc:docMk/>
          <pc:sldMk cId="3716057280" sldId="311"/>
        </pc:sldMkLst>
      </pc:sldChg>
      <pc:sldChg chg="addSp modSp add modNotesTx">
        <pc:chgData name="KRAIDI, Asma" userId="fa497f59-9303-418c-b767-b609bcb6ef9f" providerId="ADAL" clId="{0723A7D2-9CDE-497B-86EA-6FE3EC1065D3}" dt="2020-09-23T12:05:33.960" v="1123" actId="20577"/>
        <pc:sldMkLst>
          <pc:docMk/>
          <pc:sldMk cId="0" sldId="312"/>
        </pc:sldMkLst>
        <pc:spChg chg="add mod">
          <ac:chgData name="KRAIDI, Asma" userId="fa497f59-9303-418c-b767-b609bcb6ef9f" providerId="ADAL" clId="{0723A7D2-9CDE-497B-86EA-6FE3EC1065D3}" dt="2020-09-09T11:40:59.592" v="946"/>
          <ac:spMkLst>
            <pc:docMk/>
            <pc:sldMk cId="0" sldId="312"/>
            <ac:spMk id="2" creationId="{3504E00E-775A-4FF2-98ED-EFEB2C162357}"/>
          </ac:spMkLst>
        </pc:spChg>
        <pc:spChg chg="mod">
          <ac:chgData name="KRAIDI, Asma" userId="fa497f59-9303-418c-b767-b609bcb6ef9f" providerId="ADAL" clId="{0723A7D2-9CDE-497B-86EA-6FE3EC1065D3}" dt="2020-09-09T11:40:50.410" v="945" actId="20577"/>
          <ac:spMkLst>
            <pc:docMk/>
            <pc:sldMk cId="0" sldId="312"/>
            <ac:spMk id="205" creationId="{00000000-0000-0000-0000-000000000000}"/>
          </ac:spMkLst>
        </pc:spChg>
        <pc:picChg chg="mod">
          <ac:chgData name="KRAIDI, Asma" userId="fa497f59-9303-418c-b767-b609bcb6ef9f" providerId="ADAL" clId="{0723A7D2-9CDE-497B-86EA-6FE3EC1065D3}" dt="2020-09-09T11:41:03.562" v="947" actId="1076"/>
          <ac:picMkLst>
            <pc:docMk/>
            <pc:sldMk cId="0" sldId="312"/>
            <ac:picMk id="206" creationId="{00000000-0000-0000-0000-000000000000}"/>
          </ac:picMkLst>
        </pc:picChg>
      </pc:sldChg>
      <pc:sldChg chg="add del">
        <pc:chgData name="KRAIDI, Asma" userId="fa497f59-9303-418c-b767-b609bcb6ef9f" providerId="ADAL" clId="{0723A7D2-9CDE-497B-86EA-6FE3EC1065D3}" dt="2020-09-09T11:25:18.848" v="711" actId="2696"/>
        <pc:sldMkLst>
          <pc:docMk/>
          <pc:sldMk cId="1699889501" sldId="312"/>
        </pc:sldMkLst>
      </pc:sldChg>
      <pc:sldChg chg="add del">
        <pc:chgData name="KRAIDI, Asma" userId="fa497f59-9303-418c-b767-b609bcb6ef9f" providerId="ADAL" clId="{0723A7D2-9CDE-497B-86EA-6FE3EC1065D3}" dt="2020-09-09T11:25:15.157" v="710" actId="2696"/>
        <pc:sldMkLst>
          <pc:docMk/>
          <pc:sldMk cId="1663713872" sldId="313"/>
        </pc:sldMkLst>
      </pc:sldChg>
      <pc:sldChg chg="addSp delSp modSp add">
        <pc:chgData name="KRAIDI, Asma" userId="fa497f59-9303-418c-b767-b609bcb6ef9f" providerId="ADAL" clId="{0723A7D2-9CDE-497B-86EA-6FE3EC1065D3}" dt="2020-09-09T11:43:39.121" v="966" actId="20577"/>
        <pc:sldMkLst>
          <pc:docMk/>
          <pc:sldMk cId="4293062326" sldId="313"/>
        </pc:sldMkLst>
        <pc:spChg chg="del">
          <ac:chgData name="KRAIDI, Asma" userId="fa497f59-9303-418c-b767-b609bcb6ef9f" providerId="ADAL" clId="{0723A7D2-9CDE-497B-86EA-6FE3EC1065D3}" dt="2020-09-09T11:42:36.207" v="955"/>
          <ac:spMkLst>
            <pc:docMk/>
            <pc:sldMk cId="4293062326" sldId="313"/>
            <ac:spMk id="2" creationId="{A73B6143-36F2-41DB-9E24-FFE5271899A3}"/>
          </ac:spMkLst>
        </pc:spChg>
        <pc:spChg chg="add mod">
          <ac:chgData name="KRAIDI, Asma" userId="fa497f59-9303-418c-b767-b609bcb6ef9f" providerId="ADAL" clId="{0723A7D2-9CDE-497B-86EA-6FE3EC1065D3}" dt="2020-09-09T11:43:39.121" v="966" actId="20577"/>
          <ac:spMkLst>
            <pc:docMk/>
            <pc:sldMk cId="4293062326" sldId="313"/>
            <ac:spMk id="4" creationId="{3E335343-BB72-4A58-9830-9D3D8369CA30}"/>
          </ac:spMkLst>
        </pc:spChg>
        <pc:picChg chg="add mod">
          <ac:chgData name="KRAIDI, Asma" userId="fa497f59-9303-418c-b767-b609bcb6ef9f" providerId="ADAL" clId="{0723A7D2-9CDE-497B-86EA-6FE3EC1065D3}" dt="2020-09-09T11:42:09.755" v="954" actId="1076"/>
          <ac:picMkLst>
            <pc:docMk/>
            <pc:sldMk cId="4293062326" sldId="313"/>
            <ac:picMk id="3" creationId="{41E0D434-E654-4334-B267-5D679C56D9E3}"/>
          </ac:picMkLst>
        </pc:picChg>
      </pc:sldChg>
      <pc:sldChg chg="addSp delSp modSp add del">
        <pc:chgData name="KRAIDI, Asma" userId="fa497f59-9303-418c-b767-b609bcb6ef9f" providerId="ADAL" clId="{0723A7D2-9CDE-497B-86EA-6FE3EC1065D3}" dt="2020-09-09T11:45:48.528" v="974" actId="2696"/>
        <pc:sldMkLst>
          <pc:docMk/>
          <pc:sldMk cId="3844173132" sldId="314"/>
        </pc:sldMkLst>
        <pc:spChg chg="add del">
          <ac:chgData name="KRAIDI, Asma" userId="fa497f59-9303-418c-b767-b609bcb6ef9f" providerId="ADAL" clId="{0723A7D2-9CDE-497B-86EA-6FE3EC1065D3}" dt="2020-09-09T11:45:10.787" v="971"/>
          <ac:spMkLst>
            <pc:docMk/>
            <pc:sldMk cId="3844173132" sldId="314"/>
            <ac:spMk id="3" creationId="{BF4DE2F8-7885-49F1-9D01-410CB49BFFF2}"/>
          </ac:spMkLst>
        </pc:spChg>
        <pc:spChg chg="add del mod">
          <ac:chgData name="KRAIDI, Asma" userId="fa497f59-9303-418c-b767-b609bcb6ef9f" providerId="ADAL" clId="{0723A7D2-9CDE-497B-86EA-6FE3EC1065D3}" dt="2020-09-09T11:45:10.787" v="971"/>
          <ac:spMkLst>
            <pc:docMk/>
            <pc:sldMk cId="3844173132" sldId="314"/>
            <ac:spMk id="4" creationId="{C8DE7A91-106B-4048-AC68-D23928AA049C}"/>
          </ac:spMkLst>
        </pc:spChg>
        <pc:spChg chg="add del">
          <ac:chgData name="KRAIDI, Asma" userId="fa497f59-9303-418c-b767-b609bcb6ef9f" providerId="ADAL" clId="{0723A7D2-9CDE-497B-86EA-6FE3EC1065D3}" dt="2020-09-09T11:45:10.787" v="971"/>
          <ac:spMkLst>
            <pc:docMk/>
            <pc:sldMk cId="3844173132" sldId="314"/>
            <ac:spMk id="5" creationId="{2A2A14F0-A184-4E9F-8AFE-CFA32286471F}"/>
          </ac:spMkLst>
        </pc:spChg>
        <pc:spChg chg="add del">
          <ac:chgData name="KRAIDI, Asma" userId="fa497f59-9303-418c-b767-b609bcb6ef9f" providerId="ADAL" clId="{0723A7D2-9CDE-497B-86EA-6FE3EC1065D3}" dt="2020-09-09T11:45:10.787" v="971"/>
          <ac:spMkLst>
            <pc:docMk/>
            <pc:sldMk cId="3844173132" sldId="314"/>
            <ac:spMk id="6" creationId="{13E4DE7F-EDFC-4B71-9F8C-27EC82D7F83D}"/>
          </ac:spMkLst>
        </pc:spChg>
        <pc:spChg chg="add del">
          <ac:chgData name="KRAIDI, Asma" userId="fa497f59-9303-418c-b767-b609bcb6ef9f" providerId="ADAL" clId="{0723A7D2-9CDE-497B-86EA-6FE3EC1065D3}" dt="2020-09-09T11:45:10.787" v="971"/>
          <ac:spMkLst>
            <pc:docMk/>
            <pc:sldMk cId="3844173132" sldId="314"/>
            <ac:spMk id="7" creationId="{4F03BB62-A6FD-4FD2-9973-DDFF380B20B9}"/>
          </ac:spMkLst>
        </pc:spChg>
        <pc:spChg chg="add del">
          <ac:chgData name="KRAIDI, Asma" userId="fa497f59-9303-418c-b767-b609bcb6ef9f" providerId="ADAL" clId="{0723A7D2-9CDE-497B-86EA-6FE3EC1065D3}" dt="2020-09-09T11:45:10.787" v="971"/>
          <ac:spMkLst>
            <pc:docMk/>
            <pc:sldMk cId="3844173132" sldId="314"/>
            <ac:spMk id="8" creationId="{1A0B7802-F9CE-4BF3-9C1F-84E1B2CF3889}"/>
          </ac:spMkLst>
        </pc:spChg>
        <pc:spChg chg="add del">
          <ac:chgData name="KRAIDI, Asma" userId="fa497f59-9303-418c-b767-b609bcb6ef9f" providerId="ADAL" clId="{0723A7D2-9CDE-497B-86EA-6FE3EC1065D3}" dt="2020-09-09T11:45:10.787" v="971"/>
          <ac:spMkLst>
            <pc:docMk/>
            <pc:sldMk cId="3844173132" sldId="314"/>
            <ac:spMk id="9" creationId="{38F41EAE-192A-48B6-8942-5C15AA1FD525}"/>
          </ac:spMkLst>
        </pc:spChg>
        <pc:spChg chg="add del">
          <ac:chgData name="KRAIDI, Asma" userId="fa497f59-9303-418c-b767-b609bcb6ef9f" providerId="ADAL" clId="{0723A7D2-9CDE-497B-86EA-6FE3EC1065D3}" dt="2020-09-09T11:45:10.787" v="971"/>
          <ac:spMkLst>
            <pc:docMk/>
            <pc:sldMk cId="3844173132" sldId="314"/>
            <ac:spMk id="10" creationId="{3952A934-51C3-4CAF-870F-5929A21FF75A}"/>
          </ac:spMkLst>
        </pc:spChg>
        <pc:cxnChg chg="add del">
          <ac:chgData name="KRAIDI, Asma" userId="fa497f59-9303-418c-b767-b609bcb6ef9f" providerId="ADAL" clId="{0723A7D2-9CDE-497B-86EA-6FE3EC1065D3}" dt="2020-09-09T11:45:10.787" v="971"/>
          <ac:cxnSpMkLst>
            <pc:docMk/>
            <pc:sldMk cId="3844173132" sldId="314"/>
            <ac:cxnSpMk id="11" creationId="{987694B5-7670-47EC-9831-AF4B61AAFE59}"/>
          </ac:cxnSpMkLst>
        </pc:cxnChg>
      </pc:sldChg>
      <pc:sldChg chg="addSp delSp modSp add modAnim">
        <pc:chgData name="KRAIDI, Asma" userId="fa497f59-9303-418c-b767-b609bcb6ef9f" providerId="ADAL" clId="{0723A7D2-9CDE-497B-86EA-6FE3EC1065D3}" dt="2020-09-23T11:51:55.213" v="1023"/>
        <pc:sldMkLst>
          <pc:docMk/>
          <pc:sldMk cId="265685125" sldId="340"/>
        </pc:sldMkLst>
        <pc:spChg chg="del">
          <ac:chgData name="KRAIDI, Asma" userId="fa497f59-9303-418c-b767-b609bcb6ef9f" providerId="ADAL" clId="{0723A7D2-9CDE-497B-86EA-6FE3EC1065D3}" dt="2020-09-23T11:40:20.453" v="983" actId="478"/>
          <ac:spMkLst>
            <pc:docMk/>
            <pc:sldMk cId="265685125" sldId="340"/>
            <ac:spMk id="2" creationId="{97185090-3C83-4F5E-8952-20F0EF149CD7}"/>
          </ac:spMkLst>
        </pc:spChg>
        <pc:spChg chg="del mod">
          <ac:chgData name="KRAIDI, Asma" userId="fa497f59-9303-418c-b767-b609bcb6ef9f" providerId="ADAL" clId="{0723A7D2-9CDE-497B-86EA-6FE3EC1065D3}" dt="2020-09-23T11:40:29.851" v="986" actId="478"/>
          <ac:spMkLst>
            <pc:docMk/>
            <pc:sldMk cId="265685125" sldId="340"/>
            <ac:spMk id="3" creationId="{B87DCC53-0984-4852-978C-0C6866E9724E}"/>
          </ac:spMkLst>
        </pc:spChg>
        <pc:spChg chg="del">
          <ac:chgData name="KRAIDI, Asma" userId="fa497f59-9303-418c-b767-b609bcb6ef9f" providerId="ADAL" clId="{0723A7D2-9CDE-497B-86EA-6FE3EC1065D3}" dt="2020-09-23T11:40:23.226" v="984" actId="478"/>
          <ac:spMkLst>
            <pc:docMk/>
            <pc:sldMk cId="265685125" sldId="340"/>
            <ac:spMk id="4" creationId="{8DBAA23C-C3A6-4E95-80D0-5E859D22AEEE}"/>
          </ac:spMkLst>
        </pc:spChg>
        <pc:spChg chg="add del mod">
          <ac:chgData name="KRAIDI, Asma" userId="fa497f59-9303-418c-b767-b609bcb6ef9f" providerId="ADAL" clId="{0723A7D2-9CDE-497B-86EA-6FE3EC1065D3}" dt="2020-09-23T11:45:13.997" v="996" actId="478"/>
          <ac:spMkLst>
            <pc:docMk/>
            <pc:sldMk cId="265685125" sldId="340"/>
            <ac:spMk id="5" creationId="{24C7E07E-1C82-4A88-9EE7-F0014DA17697}"/>
          </ac:spMkLst>
        </pc:spChg>
        <pc:spChg chg="add del mod">
          <ac:chgData name="KRAIDI, Asma" userId="fa497f59-9303-418c-b767-b609bcb6ef9f" providerId="ADAL" clId="{0723A7D2-9CDE-497B-86EA-6FE3EC1065D3}" dt="2020-09-23T11:45:12.902" v="995" actId="478"/>
          <ac:spMkLst>
            <pc:docMk/>
            <pc:sldMk cId="265685125" sldId="340"/>
            <ac:spMk id="6" creationId="{2F6A2D9B-83E9-4A5E-8CE0-C7AD1B9F746A}"/>
          </ac:spMkLst>
        </pc:spChg>
        <pc:spChg chg="add mod">
          <ac:chgData name="KRAIDI, Asma" userId="fa497f59-9303-418c-b767-b609bcb6ef9f" providerId="ADAL" clId="{0723A7D2-9CDE-497B-86EA-6FE3EC1065D3}" dt="2020-09-23T11:48:07.854" v="1007" actId="1076"/>
          <ac:spMkLst>
            <pc:docMk/>
            <pc:sldMk cId="265685125" sldId="340"/>
            <ac:spMk id="8" creationId="{76FB33CF-40C0-4E7A-99B2-E598FE44506B}"/>
          </ac:spMkLst>
        </pc:spChg>
        <pc:picChg chg="add mod">
          <ac:chgData name="KRAIDI, Asma" userId="fa497f59-9303-418c-b767-b609bcb6ef9f" providerId="ADAL" clId="{0723A7D2-9CDE-497B-86EA-6FE3EC1065D3}" dt="2020-09-23T11:47:40.593" v="1005" actId="1076"/>
          <ac:picMkLst>
            <pc:docMk/>
            <pc:sldMk cId="265685125" sldId="340"/>
            <ac:picMk id="7" creationId="{59559109-2D32-478E-8D02-626317AF1EBD}"/>
          </ac:picMkLst>
        </pc:picChg>
        <pc:picChg chg="add mod">
          <ac:chgData name="KRAIDI, Asma" userId="fa497f59-9303-418c-b767-b609bcb6ef9f" providerId="ADAL" clId="{0723A7D2-9CDE-497B-86EA-6FE3EC1065D3}" dt="2020-09-23T11:51:44.832" v="1022" actId="14100"/>
          <ac:picMkLst>
            <pc:docMk/>
            <pc:sldMk cId="265685125" sldId="340"/>
            <ac:picMk id="10" creationId="{001434A4-1A50-481F-B05B-C259697F9071}"/>
          </ac:picMkLst>
        </pc:picChg>
      </pc:sldChg>
      <pc:sldChg chg="addSp delSp modSp add">
        <pc:chgData name="KRAIDI, Asma" userId="fa497f59-9303-418c-b767-b609bcb6ef9f" providerId="ADAL" clId="{0723A7D2-9CDE-497B-86EA-6FE3EC1065D3}" dt="2020-09-23T09:24:29.417" v="982" actId="27614"/>
        <pc:sldMkLst>
          <pc:docMk/>
          <pc:sldMk cId="320635130" sldId="341"/>
        </pc:sldMkLst>
        <pc:spChg chg="add del">
          <ac:chgData name="KRAIDI, Asma" userId="fa497f59-9303-418c-b767-b609bcb6ef9f" providerId="ADAL" clId="{0723A7D2-9CDE-497B-86EA-6FE3EC1065D3}" dt="2020-09-23T09:24:10.564" v="980"/>
          <ac:spMkLst>
            <pc:docMk/>
            <pc:sldMk cId="320635130" sldId="341"/>
            <ac:spMk id="3" creationId="{BFE8BB1F-03D4-496C-8E7D-135CBE445C6E}"/>
          </ac:spMkLst>
        </pc:spChg>
        <pc:picChg chg="add mod">
          <ac:chgData name="KRAIDI, Asma" userId="fa497f59-9303-418c-b767-b609bcb6ef9f" providerId="ADAL" clId="{0723A7D2-9CDE-497B-86EA-6FE3EC1065D3}" dt="2020-09-23T09:24:29.417" v="982" actId="27614"/>
          <ac:picMkLst>
            <pc:docMk/>
            <pc:sldMk cId="320635130" sldId="341"/>
            <ac:picMk id="5" creationId="{F46CE05C-CCB5-446B-BDAE-06A6B5383845}"/>
          </ac:picMkLst>
        </pc:picChg>
      </pc:sldChg>
      <pc:sldMasterChg chg="del delSldLayout">
        <pc:chgData name="KRAIDI, Asma" userId="fa497f59-9303-418c-b767-b609bcb6ef9f" providerId="ADAL" clId="{0723A7D2-9CDE-497B-86EA-6FE3EC1065D3}" dt="2020-09-09T11:24:22.471" v="700" actId="2696"/>
        <pc:sldMasterMkLst>
          <pc:docMk/>
          <pc:sldMasterMk cId="1919276558" sldId="2147483881"/>
        </pc:sldMasterMkLst>
        <pc:sldLayoutChg chg="del">
          <pc:chgData name="KRAIDI, Asma" userId="fa497f59-9303-418c-b767-b609bcb6ef9f" providerId="ADAL" clId="{0723A7D2-9CDE-497B-86EA-6FE3EC1065D3}" dt="2020-09-09T11:24:22.431" v="689" actId="2696"/>
          <pc:sldLayoutMkLst>
            <pc:docMk/>
            <pc:sldMasterMk cId="1919276558" sldId="2147483881"/>
            <pc:sldLayoutMk cId="3924599645" sldId="2147483882"/>
          </pc:sldLayoutMkLst>
        </pc:sldLayoutChg>
        <pc:sldLayoutChg chg="del">
          <pc:chgData name="KRAIDI, Asma" userId="fa497f59-9303-418c-b767-b609bcb6ef9f" providerId="ADAL" clId="{0723A7D2-9CDE-497B-86EA-6FE3EC1065D3}" dt="2020-09-09T11:24:22.435" v="690" actId="2696"/>
          <pc:sldLayoutMkLst>
            <pc:docMk/>
            <pc:sldMasterMk cId="1919276558" sldId="2147483881"/>
            <pc:sldLayoutMk cId="2870392407" sldId="2147483883"/>
          </pc:sldLayoutMkLst>
        </pc:sldLayoutChg>
        <pc:sldLayoutChg chg="del">
          <pc:chgData name="KRAIDI, Asma" userId="fa497f59-9303-418c-b767-b609bcb6ef9f" providerId="ADAL" clId="{0723A7D2-9CDE-497B-86EA-6FE3EC1065D3}" dt="2020-09-09T11:24:22.438" v="691" actId="2696"/>
          <pc:sldLayoutMkLst>
            <pc:docMk/>
            <pc:sldMasterMk cId="1919276558" sldId="2147483881"/>
            <pc:sldLayoutMk cId="590215864" sldId="2147483884"/>
          </pc:sldLayoutMkLst>
        </pc:sldLayoutChg>
        <pc:sldLayoutChg chg="del">
          <pc:chgData name="KRAIDI, Asma" userId="fa497f59-9303-418c-b767-b609bcb6ef9f" providerId="ADAL" clId="{0723A7D2-9CDE-497B-86EA-6FE3EC1065D3}" dt="2020-09-09T11:24:22.441" v="692" actId="2696"/>
          <pc:sldLayoutMkLst>
            <pc:docMk/>
            <pc:sldMasterMk cId="1919276558" sldId="2147483881"/>
            <pc:sldLayoutMk cId="2917483526" sldId="2147483885"/>
          </pc:sldLayoutMkLst>
        </pc:sldLayoutChg>
        <pc:sldLayoutChg chg="del">
          <pc:chgData name="KRAIDI, Asma" userId="fa497f59-9303-418c-b767-b609bcb6ef9f" providerId="ADAL" clId="{0723A7D2-9CDE-497B-86EA-6FE3EC1065D3}" dt="2020-09-09T11:24:22.444" v="693" actId="2696"/>
          <pc:sldLayoutMkLst>
            <pc:docMk/>
            <pc:sldMasterMk cId="1919276558" sldId="2147483881"/>
            <pc:sldLayoutMk cId="1647094517" sldId="2147483886"/>
          </pc:sldLayoutMkLst>
        </pc:sldLayoutChg>
        <pc:sldLayoutChg chg="del">
          <pc:chgData name="KRAIDI, Asma" userId="fa497f59-9303-418c-b767-b609bcb6ef9f" providerId="ADAL" clId="{0723A7D2-9CDE-497B-86EA-6FE3EC1065D3}" dt="2020-09-09T11:24:22.451" v="694" actId="2696"/>
          <pc:sldLayoutMkLst>
            <pc:docMk/>
            <pc:sldMasterMk cId="1919276558" sldId="2147483881"/>
            <pc:sldLayoutMk cId="3304391188" sldId="2147483887"/>
          </pc:sldLayoutMkLst>
        </pc:sldLayoutChg>
        <pc:sldLayoutChg chg="del">
          <pc:chgData name="KRAIDI, Asma" userId="fa497f59-9303-418c-b767-b609bcb6ef9f" providerId="ADAL" clId="{0723A7D2-9CDE-497B-86EA-6FE3EC1065D3}" dt="2020-09-09T11:24:22.454" v="695" actId="2696"/>
          <pc:sldLayoutMkLst>
            <pc:docMk/>
            <pc:sldMasterMk cId="1919276558" sldId="2147483881"/>
            <pc:sldLayoutMk cId="2434127716" sldId="2147483888"/>
          </pc:sldLayoutMkLst>
        </pc:sldLayoutChg>
        <pc:sldLayoutChg chg="del">
          <pc:chgData name="KRAIDI, Asma" userId="fa497f59-9303-418c-b767-b609bcb6ef9f" providerId="ADAL" clId="{0723A7D2-9CDE-497B-86EA-6FE3EC1065D3}" dt="2020-09-09T11:24:22.457" v="696" actId="2696"/>
          <pc:sldLayoutMkLst>
            <pc:docMk/>
            <pc:sldMasterMk cId="1919276558" sldId="2147483881"/>
            <pc:sldLayoutMk cId="3607282209" sldId="2147483889"/>
          </pc:sldLayoutMkLst>
        </pc:sldLayoutChg>
        <pc:sldLayoutChg chg="del">
          <pc:chgData name="KRAIDI, Asma" userId="fa497f59-9303-418c-b767-b609bcb6ef9f" providerId="ADAL" clId="{0723A7D2-9CDE-497B-86EA-6FE3EC1065D3}" dt="2020-09-09T11:24:22.460" v="697" actId="2696"/>
          <pc:sldLayoutMkLst>
            <pc:docMk/>
            <pc:sldMasterMk cId="1919276558" sldId="2147483881"/>
            <pc:sldLayoutMk cId="3705710311" sldId="2147483890"/>
          </pc:sldLayoutMkLst>
        </pc:sldLayoutChg>
        <pc:sldLayoutChg chg="del">
          <pc:chgData name="KRAIDI, Asma" userId="fa497f59-9303-418c-b767-b609bcb6ef9f" providerId="ADAL" clId="{0723A7D2-9CDE-497B-86EA-6FE3EC1065D3}" dt="2020-09-09T11:24:22.465" v="698" actId="2696"/>
          <pc:sldLayoutMkLst>
            <pc:docMk/>
            <pc:sldMasterMk cId="1919276558" sldId="2147483881"/>
            <pc:sldLayoutMk cId="3922756949" sldId="2147483891"/>
          </pc:sldLayoutMkLst>
        </pc:sldLayoutChg>
        <pc:sldLayoutChg chg="del">
          <pc:chgData name="KRAIDI, Asma" userId="fa497f59-9303-418c-b767-b609bcb6ef9f" providerId="ADAL" clId="{0723A7D2-9CDE-497B-86EA-6FE3EC1065D3}" dt="2020-09-09T11:24:22.468" v="699" actId="2696"/>
          <pc:sldLayoutMkLst>
            <pc:docMk/>
            <pc:sldMasterMk cId="1919276558" sldId="2147483881"/>
            <pc:sldLayoutMk cId="1355818780" sldId="2147483892"/>
          </pc:sldLayoutMkLst>
        </pc:sldLayoutChg>
      </pc:sldMasterChg>
    </pc:docChg>
  </pc:docChgLst>
  <pc:docChgLst>
    <pc:chgData name="GALASSO, Damien" userId="S::damien.galasso@capgemini.com::7f12dbef-39e8-4f8c-9127-a94d7215092c" providerId="AD" clId="Web-{7C4E70DC-C5CC-4B1F-57DF-35E3EF250AD5}"/>
    <pc:docChg chg="modSld">
      <pc:chgData name="GALASSO, Damien" userId="S::damien.galasso@capgemini.com::7f12dbef-39e8-4f8c-9127-a94d7215092c" providerId="AD" clId="Web-{7C4E70DC-C5CC-4B1F-57DF-35E3EF250AD5}" dt="2020-09-03T08:09:05.340" v="9" actId="20577"/>
      <pc:docMkLst>
        <pc:docMk/>
      </pc:docMkLst>
      <pc:sldChg chg="modSp">
        <pc:chgData name="GALASSO, Damien" userId="S::damien.galasso@capgemini.com::7f12dbef-39e8-4f8c-9127-a94d7215092c" providerId="AD" clId="Web-{7C4E70DC-C5CC-4B1F-57DF-35E3EF250AD5}" dt="2020-09-03T08:09:05.340" v="9" actId="20577"/>
        <pc:sldMkLst>
          <pc:docMk/>
          <pc:sldMk cId="0" sldId="256"/>
        </pc:sldMkLst>
        <pc:spChg chg="mod">
          <ac:chgData name="GALASSO, Damien" userId="S::damien.galasso@capgemini.com::7f12dbef-39e8-4f8c-9127-a94d7215092c" providerId="AD" clId="Web-{7C4E70DC-C5CC-4B1F-57DF-35E3EF250AD5}" dt="2020-09-03T08:09:05.340" v="9" actId="20577"/>
          <ac:spMkLst>
            <pc:docMk/>
            <pc:sldMk cId="0" sldId="256"/>
            <ac:spMk id="2" creationId="{00000000-0000-0000-0000-000000000000}"/>
          </ac:spMkLst>
        </pc:spChg>
      </pc:sldChg>
    </pc:docChg>
  </pc:docChgLst>
  <pc:docChgLst>
    <pc:chgData name="GALASSO, Damien" userId="S::damien.galasso@capgemini.com::7f12dbef-39e8-4f8c-9127-a94d7215092c" providerId="AD" clId="Web-{60E0253D-486A-4AC0-8645-C78A00D44CC5}"/>
    <pc:docChg chg="modSld">
      <pc:chgData name="GALASSO, Damien" userId="S::damien.galasso@capgemini.com::7f12dbef-39e8-4f8c-9127-a94d7215092c" providerId="AD" clId="Web-{60E0253D-486A-4AC0-8645-C78A00D44CC5}" dt="2020-09-23T09:08:49.452" v="4" actId="20577"/>
      <pc:docMkLst>
        <pc:docMk/>
      </pc:docMkLst>
      <pc:sldChg chg="modSp">
        <pc:chgData name="GALASSO, Damien" userId="S::damien.galasso@capgemini.com::7f12dbef-39e8-4f8c-9127-a94d7215092c" providerId="AD" clId="Web-{60E0253D-486A-4AC0-8645-C78A00D44CC5}" dt="2020-09-23T09:08:49.452" v="4" actId="20577"/>
        <pc:sldMkLst>
          <pc:docMk/>
          <pc:sldMk cId="385839263" sldId="302"/>
        </pc:sldMkLst>
        <pc:spChg chg="mod">
          <ac:chgData name="GALASSO, Damien" userId="S::damien.galasso@capgemini.com::7f12dbef-39e8-4f8c-9127-a94d7215092c" providerId="AD" clId="Web-{60E0253D-486A-4AC0-8645-C78A00D44CC5}" dt="2020-09-23T09:08:49.452" v="4" actId="20577"/>
          <ac:spMkLst>
            <pc:docMk/>
            <pc:sldMk cId="385839263" sldId="302"/>
            <ac:spMk id="2" creationId="{75B04869-A1F6-4243-96ED-71BBC4057557}"/>
          </ac:spMkLst>
        </pc:spChg>
      </pc:sldChg>
    </pc:docChg>
  </pc:docChgLst>
  <pc:docChgLst>
    <pc:chgData name="GALASSO, Damien" userId="S::damien.galasso@capgemini.com::7f12dbef-39e8-4f8c-9127-a94d7215092c" providerId="AD" clId="Web-{B01D405F-7C6B-4BB8-9D30-C958A2C5466E}"/>
    <pc:docChg chg="addSld modSld">
      <pc:chgData name="GALASSO, Damien" userId="S::damien.galasso@capgemini.com::7f12dbef-39e8-4f8c-9127-a94d7215092c" providerId="AD" clId="Web-{B01D405F-7C6B-4BB8-9D30-C958A2C5466E}" dt="2020-09-09T09:16:33.179" v="85" actId="20577"/>
      <pc:docMkLst>
        <pc:docMk/>
      </pc:docMkLst>
      <pc:sldChg chg="addSp modSp">
        <pc:chgData name="GALASSO, Damien" userId="S::damien.galasso@capgemini.com::7f12dbef-39e8-4f8c-9127-a94d7215092c" providerId="AD" clId="Web-{B01D405F-7C6B-4BB8-9D30-C958A2C5466E}" dt="2020-09-09T09:13:34.286" v="61" actId="20577"/>
        <pc:sldMkLst>
          <pc:docMk/>
          <pc:sldMk cId="849790662" sldId="301"/>
        </pc:sldMkLst>
        <pc:spChg chg="add mod">
          <ac:chgData name="GALASSO, Damien" userId="S::damien.galasso@capgemini.com::7f12dbef-39e8-4f8c-9127-a94d7215092c" providerId="AD" clId="Web-{B01D405F-7C6B-4BB8-9D30-C958A2C5466E}" dt="2020-09-09T09:12:38.050" v="49" actId="1076"/>
          <ac:spMkLst>
            <pc:docMk/>
            <pc:sldMk cId="849790662" sldId="301"/>
            <ac:spMk id="2" creationId="{0E5EEA90-C69A-4CC7-9868-56975D7B33FE}"/>
          </ac:spMkLst>
        </pc:spChg>
        <pc:spChg chg="mod">
          <ac:chgData name="GALASSO, Damien" userId="S::damien.galasso@capgemini.com::7f12dbef-39e8-4f8c-9127-a94d7215092c" providerId="AD" clId="Web-{B01D405F-7C6B-4BB8-9D30-C958A2C5466E}" dt="2020-09-09T09:13:34.286" v="61" actId="20577"/>
          <ac:spMkLst>
            <pc:docMk/>
            <pc:sldMk cId="849790662" sldId="301"/>
            <ac:spMk id="5" creationId="{00000000-0000-0000-0000-000000000000}"/>
          </ac:spMkLst>
        </pc:spChg>
      </pc:sldChg>
      <pc:sldChg chg="delSp modSp add replId">
        <pc:chgData name="GALASSO, Damien" userId="S::damien.galasso@capgemini.com::7f12dbef-39e8-4f8c-9127-a94d7215092c" providerId="AD" clId="Web-{B01D405F-7C6B-4BB8-9D30-C958A2C5466E}" dt="2020-09-09T09:16:33.179" v="85" actId="20577"/>
        <pc:sldMkLst>
          <pc:docMk/>
          <pc:sldMk cId="385839263" sldId="302"/>
        </pc:sldMkLst>
        <pc:spChg chg="mod">
          <ac:chgData name="GALASSO, Damien" userId="S::damien.galasso@capgemini.com::7f12dbef-39e8-4f8c-9127-a94d7215092c" providerId="AD" clId="Web-{B01D405F-7C6B-4BB8-9D30-C958A2C5466E}" dt="2020-09-09T09:16:33.179" v="85" actId="20577"/>
          <ac:spMkLst>
            <pc:docMk/>
            <pc:sldMk cId="385839263" sldId="302"/>
            <ac:spMk id="2" creationId="{75B04869-A1F6-4243-96ED-71BBC4057557}"/>
          </ac:spMkLst>
        </pc:spChg>
        <pc:spChg chg="mod">
          <ac:chgData name="GALASSO, Damien" userId="S::damien.galasso@capgemini.com::7f12dbef-39e8-4f8c-9127-a94d7215092c" providerId="AD" clId="Web-{B01D405F-7C6B-4BB8-9D30-C958A2C5466E}" dt="2020-09-09T09:16:03.304" v="76" actId="1076"/>
          <ac:spMkLst>
            <pc:docMk/>
            <pc:sldMk cId="385839263" sldId="302"/>
            <ac:spMk id="4" creationId="{948D75D1-CADF-4F96-AEC3-ED8359CC3AE1}"/>
          </ac:spMkLst>
        </pc:spChg>
        <pc:spChg chg="del mod">
          <ac:chgData name="GALASSO, Damien" userId="S::damien.galasso@capgemini.com::7f12dbef-39e8-4f8c-9127-a94d7215092c" providerId="AD" clId="Web-{B01D405F-7C6B-4BB8-9D30-C958A2C5466E}" dt="2020-09-09T09:16:20.460" v="80"/>
          <ac:spMkLst>
            <pc:docMk/>
            <pc:sldMk cId="385839263" sldId="302"/>
            <ac:spMk id="5" creationId="{E5ECB244-317E-47CC-B78F-5C707A48BC22}"/>
          </ac:spMkLst>
        </pc:spChg>
        <pc:spChg chg="mod">
          <ac:chgData name="GALASSO, Damien" userId="S::damien.galasso@capgemini.com::7f12dbef-39e8-4f8c-9127-a94d7215092c" providerId="AD" clId="Web-{B01D405F-7C6B-4BB8-9D30-C958A2C5466E}" dt="2020-09-09T09:15:31.694" v="71" actId="20577"/>
          <ac:spMkLst>
            <pc:docMk/>
            <pc:sldMk cId="385839263" sldId="302"/>
            <ac:spMk id="7" creationId="{58D696FB-136C-43A2-8858-0735590039FF}"/>
          </ac:spMkLst>
        </pc:spChg>
      </pc:sldChg>
    </pc:docChg>
  </pc:docChgLst>
  <pc:docChgLst>
    <pc:chgData name="GALASSO, Damien" userId="S::damien.galasso@capgemini.com::7f12dbef-39e8-4f8c-9127-a94d7215092c" providerId="AD" clId="Web-{3F34B1F9-EB8D-40CD-9AA8-D908ECB05789}"/>
    <pc:docChg chg="delSld modSld">
      <pc:chgData name="GALASSO, Damien" userId="S::damien.galasso@capgemini.com::7f12dbef-39e8-4f8c-9127-a94d7215092c" providerId="AD" clId="Web-{3F34B1F9-EB8D-40CD-9AA8-D908ECB05789}" dt="2020-09-09T13:56:33.839" v="57" actId="1076"/>
      <pc:docMkLst>
        <pc:docMk/>
      </pc:docMkLst>
      <pc:sldChg chg="modSp">
        <pc:chgData name="GALASSO, Damien" userId="S::damien.galasso@capgemini.com::7f12dbef-39e8-4f8c-9127-a94d7215092c" providerId="AD" clId="Web-{3F34B1F9-EB8D-40CD-9AA8-D908ECB05789}" dt="2020-09-09T13:43:22.486" v="2" actId="20577"/>
        <pc:sldMkLst>
          <pc:docMk/>
          <pc:sldMk cId="0" sldId="264"/>
        </pc:sldMkLst>
        <pc:spChg chg="mod">
          <ac:chgData name="GALASSO, Damien" userId="S::damien.galasso@capgemini.com::7f12dbef-39e8-4f8c-9127-a94d7215092c" providerId="AD" clId="Web-{3F34B1F9-EB8D-40CD-9AA8-D908ECB05789}" dt="2020-09-09T13:43:22.486" v="2" actId="20577"/>
          <ac:spMkLst>
            <pc:docMk/>
            <pc:sldMk cId="0" sldId="264"/>
            <ac:spMk id="7" creationId="{9C8F29B4-0EC7-4D72-9145-D48BCA33B2A9}"/>
          </ac:spMkLst>
        </pc:spChg>
      </pc:sldChg>
      <pc:sldChg chg="del">
        <pc:chgData name="GALASSO, Damien" userId="S::damien.galasso@capgemini.com::7f12dbef-39e8-4f8c-9127-a94d7215092c" providerId="AD" clId="Web-{3F34B1F9-EB8D-40CD-9AA8-D908ECB05789}" dt="2020-09-09T13:53:18.993" v="39"/>
        <pc:sldMkLst>
          <pc:docMk/>
          <pc:sldMk cId="0" sldId="266"/>
        </pc:sldMkLst>
      </pc:sldChg>
      <pc:sldChg chg="del">
        <pc:chgData name="GALASSO, Damien" userId="S::damien.galasso@capgemini.com::7f12dbef-39e8-4f8c-9127-a94d7215092c" providerId="AD" clId="Web-{3F34B1F9-EB8D-40CD-9AA8-D908ECB05789}" dt="2020-09-09T13:53:17.509" v="38"/>
        <pc:sldMkLst>
          <pc:docMk/>
          <pc:sldMk cId="0" sldId="267"/>
        </pc:sldMkLst>
      </pc:sldChg>
      <pc:sldChg chg="del">
        <pc:chgData name="GALASSO, Damien" userId="S::damien.galasso@capgemini.com::7f12dbef-39e8-4f8c-9127-a94d7215092c" providerId="AD" clId="Web-{3F34B1F9-EB8D-40CD-9AA8-D908ECB05789}" dt="2020-09-09T13:52:55.663" v="26"/>
        <pc:sldMkLst>
          <pc:docMk/>
          <pc:sldMk cId="0" sldId="268"/>
        </pc:sldMkLst>
      </pc:sldChg>
      <pc:sldChg chg="del">
        <pc:chgData name="GALASSO, Damien" userId="S::damien.galasso@capgemini.com::7f12dbef-39e8-4f8c-9127-a94d7215092c" providerId="AD" clId="Web-{3F34B1F9-EB8D-40CD-9AA8-D908ECB05789}" dt="2020-09-09T13:52:54.194" v="25"/>
        <pc:sldMkLst>
          <pc:docMk/>
          <pc:sldMk cId="0" sldId="269"/>
        </pc:sldMkLst>
      </pc:sldChg>
      <pc:sldChg chg="del">
        <pc:chgData name="GALASSO, Damien" userId="S::damien.galasso@capgemini.com::7f12dbef-39e8-4f8c-9127-a94d7215092c" providerId="AD" clId="Web-{3F34B1F9-EB8D-40CD-9AA8-D908ECB05789}" dt="2020-09-09T13:52:53.131" v="24"/>
        <pc:sldMkLst>
          <pc:docMk/>
          <pc:sldMk cId="0" sldId="270"/>
        </pc:sldMkLst>
      </pc:sldChg>
      <pc:sldChg chg="del">
        <pc:chgData name="GALASSO, Damien" userId="S::damien.galasso@capgemini.com::7f12dbef-39e8-4f8c-9127-a94d7215092c" providerId="AD" clId="Web-{3F34B1F9-EB8D-40CD-9AA8-D908ECB05789}" dt="2020-09-09T13:52:51.709" v="23"/>
        <pc:sldMkLst>
          <pc:docMk/>
          <pc:sldMk cId="0" sldId="271"/>
        </pc:sldMkLst>
      </pc:sldChg>
      <pc:sldChg chg="delSp modSp">
        <pc:chgData name="GALASSO, Damien" userId="S::damien.galasso@capgemini.com::7f12dbef-39e8-4f8c-9127-a94d7215092c" providerId="AD" clId="Web-{3F34B1F9-EB8D-40CD-9AA8-D908ECB05789}" dt="2020-09-09T13:56:33.839" v="57" actId="1076"/>
        <pc:sldMkLst>
          <pc:docMk/>
          <pc:sldMk cId="0" sldId="272"/>
        </pc:sldMkLst>
        <pc:spChg chg="del">
          <ac:chgData name="GALASSO, Damien" userId="S::damien.galasso@capgemini.com::7f12dbef-39e8-4f8c-9127-a94d7215092c" providerId="AD" clId="Web-{3F34B1F9-EB8D-40CD-9AA8-D908ECB05789}" dt="2020-09-09T13:55:20.817" v="55"/>
          <ac:spMkLst>
            <pc:docMk/>
            <pc:sldMk cId="0" sldId="272"/>
            <ac:spMk id="2" creationId="{8F1E6229-8CE4-4CC6-99E6-C1C33022D005}"/>
          </ac:spMkLst>
        </pc:spChg>
        <pc:spChg chg="mod">
          <ac:chgData name="GALASSO, Damien" userId="S::damien.galasso@capgemini.com::7f12dbef-39e8-4f8c-9127-a94d7215092c" providerId="AD" clId="Web-{3F34B1F9-EB8D-40CD-9AA8-D908ECB05789}" dt="2020-09-09T13:54:55.893" v="51" actId="14100"/>
          <ac:spMkLst>
            <pc:docMk/>
            <pc:sldMk cId="0" sldId="272"/>
            <ac:spMk id="237" creationId="{00000000-0000-0000-0000-000000000000}"/>
          </ac:spMkLst>
        </pc:spChg>
        <pc:spChg chg="mod">
          <ac:chgData name="GALASSO, Damien" userId="S::damien.galasso@capgemini.com::7f12dbef-39e8-4f8c-9127-a94d7215092c" providerId="AD" clId="Web-{3F34B1F9-EB8D-40CD-9AA8-D908ECB05789}" dt="2020-09-09T13:54:50.720" v="50" actId="14100"/>
          <ac:spMkLst>
            <pc:docMk/>
            <pc:sldMk cId="0" sldId="272"/>
            <ac:spMk id="239" creationId="{00000000-0000-0000-0000-000000000000}"/>
          </ac:spMkLst>
        </pc:spChg>
        <pc:spChg chg="mod">
          <ac:chgData name="GALASSO, Damien" userId="S::damien.galasso@capgemini.com::7f12dbef-39e8-4f8c-9127-a94d7215092c" providerId="AD" clId="Web-{3F34B1F9-EB8D-40CD-9AA8-D908ECB05789}" dt="2020-09-09T13:55:01.159" v="52" actId="1076"/>
          <ac:spMkLst>
            <pc:docMk/>
            <pc:sldMk cId="0" sldId="272"/>
            <ac:spMk id="240" creationId="{00000000-0000-0000-0000-000000000000}"/>
          </ac:spMkLst>
        </pc:spChg>
        <pc:spChg chg="mod">
          <ac:chgData name="GALASSO, Damien" userId="S::damien.galasso@capgemini.com::7f12dbef-39e8-4f8c-9127-a94d7215092c" providerId="AD" clId="Web-{3F34B1F9-EB8D-40CD-9AA8-D908ECB05789}" dt="2020-09-09T13:55:06.847" v="53" actId="1076"/>
          <ac:spMkLst>
            <pc:docMk/>
            <pc:sldMk cId="0" sldId="272"/>
            <ac:spMk id="241" creationId="{00000000-0000-0000-0000-000000000000}"/>
          </ac:spMkLst>
        </pc:spChg>
        <pc:spChg chg="mod">
          <ac:chgData name="GALASSO, Damien" userId="S::damien.galasso@capgemini.com::7f12dbef-39e8-4f8c-9127-a94d7215092c" providerId="AD" clId="Web-{3F34B1F9-EB8D-40CD-9AA8-D908ECB05789}" dt="2020-09-09T13:55:09.925" v="54" actId="1076"/>
          <ac:spMkLst>
            <pc:docMk/>
            <pc:sldMk cId="0" sldId="272"/>
            <ac:spMk id="242" creationId="{00000000-0000-0000-0000-000000000000}"/>
          </ac:spMkLst>
        </pc:spChg>
        <pc:spChg chg="mod">
          <ac:chgData name="GALASSO, Damien" userId="S::damien.galasso@capgemini.com::7f12dbef-39e8-4f8c-9127-a94d7215092c" providerId="AD" clId="Web-{3F34B1F9-EB8D-40CD-9AA8-D908ECB05789}" dt="2020-09-09T13:56:33.839" v="57" actId="1076"/>
          <ac:spMkLst>
            <pc:docMk/>
            <pc:sldMk cId="0" sldId="272"/>
            <ac:spMk id="243" creationId="{00000000-0000-0000-0000-000000000000}"/>
          </ac:spMkLst>
        </pc:spChg>
        <pc:cxnChg chg="mod">
          <ac:chgData name="GALASSO, Damien" userId="S::damien.galasso@capgemini.com::7f12dbef-39e8-4f8c-9127-a94d7215092c" providerId="AD" clId="Web-{3F34B1F9-EB8D-40CD-9AA8-D908ECB05789}" dt="2020-09-09T13:55:09.925" v="54" actId="1076"/>
          <ac:cxnSpMkLst>
            <pc:docMk/>
            <pc:sldMk cId="0" sldId="272"/>
            <ac:cxnSpMk id="244" creationId="{00000000-0000-0000-0000-000000000000}"/>
          </ac:cxnSpMkLst>
        </pc:cxnChg>
      </pc:sldChg>
      <pc:sldChg chg="del">
        <pc:chgData name="GALASSO, Damien" userId="S::damien.galasso@capgemini.com::7f12dbef-39e8-4f8c-9127-a94d7215092c" providerId="AD" clId="Web-{3F34B1F9-EB8D-40CD-9AA8-D908ECB05789}" dt="2020-09-09T13:52:31.004" v="17"/>
        <pc:sldMkLst>
          <pc:docMk/>
          <pc:sldMk cId="0" sldId="273"/>
        </pc:sldMkLst>
      </pc:sldChg>
      <pc:sldChg chg="del">
        <pc:chgData name="GALASSO, Damien" userId="S::damien.galasso@capgemini.com::7f12dbef-39e8-4f8c-9127-a94d7215092c" providerId="AD" clId="Web-{3F34B1F9-EB8D-40CD-9AA8-D908ECB05789}" dt="2020-09-09T13:52:29.270" v="16"/>
        <pc:sldMkLst>
          <pc:docMk/>
          <pc:sldMk cId="0" sldId="274"/>
        </pc:sldMkLst>
      </pc:sldChg>
      <pc:sldChg chg="del">
        <pc:chgData name="GALASSO, Damien" userId="S::damien.galasso@capgemini.com::7f12dbef-39e8-4f8c-9127-a94d7215092c" providerId="AD" clId="Web-{3F34B1F9-EB8D-40CD-9AA8-D908ECB05789}" dt="2020-09-09T13:53:12.961" v="35"/>
        <pc:sldMkLst>
          <pc:docMk/>
          <pc:sldMk cId="0" sldId="276"/>
        </pc:sldMkLst>
      </pc:sldChg>
      <pc:sldChg chg="del">
        <pc:chgData name="GALASSO, Damien" userId="S::damien.galasso@capgemini.com::7f12dbef-39e8-4f8c-9127-a94d7215092c" providerId="AD" clId="Web-{3F34B1F9-EB8D-40CD-9AA8-D908ECB05789}" dt="2020-09-09T13:53:14.837" v="36"/>
        <pc:sldMkLst>
          <pc:docMk/>
          <pc:sldMk cId="0" sldId="277"/>
        </pc:sldMkLst>
      </pc:sldChg>
      <pc:sldChg chg="del">
        <pc:chgData name="GALASSO, Damien" userId="S::damien.galasso@capgemini.com::7f12dbef-39e8-4f8c-9127-a94d7215092c" providerId="AD" clId="Web-{3F34B1F9-EB8D-40CD-9AA8-D908ECB05789}" dt="2020-09-09T13:52:47.131" v="21"/>
        <pc:sldMkLst>
          <pc:docMk/>
          <pc:sldMk cId="0" sldId="278"/>
        </pc:sldMkLst>
      </pc:sldChg>
      <pc:sldChg chg="del">
        <pc:chgData name="GALASSO, Damien" userId="S::damien.galasso@capgemini.com::7f12dbef-39e8-4f8c-9127-a94d7215092c" providerId="AD" clId="Web-{3F34B1F9-EB8D-40CD-9AA8-D908ECB05789}" dt="2020-09-09T13:53:11.586" v="34"/>
        <pc:sldMkLst>
          <pc:docMk/>
          <pc:sldMk cId="0" sldId="279"/>
        </pc:sldMkLst>
      </pc:sldChg>
      <pc:sldChg chg="del">
        <pc:chgData name="GALASSO, Damien" userId="S::damien.galasso@capgemini.com::7f12dbef-39e8-4f8c-9127-a94d7215092c" providerId="AD" clId="Web-{3F34B1F9-EB8D-40CD-9AA8-D908ECB05789}" dt="2020-09-09T13:53:10.133" v="33"/>
        <pc:sldMkLst>
          <pc:docMk/>
          <pc:sldMk cId="0" sldId="280"/>
        </pc:sldMkLst>
      </pc:sldChg>
      <pc:sldChg chg="del">
        <pc:chgData name="GALASSO, Damien" userId="S::damien.galasso@capgemini.com::7f12dbef-39e8-4f8c-9127-a94d7215092c" providerId="AD" clId="Web-{3F34B1F9-EB8D-40CD-9AA8-D908ECB05789}" dt="2020-09-09T13:53:08.883" v="32"/>
        <pc:sldMkLst>
          <pc:docMk/>
          <pc:sldMk cId="0" sldId="281"/>
        </pc:sldMkLst>
      </pc:sldChg>
      <pc:sldChg chg="del">
        <pc:chgData name="GALASSO, Damien" userId="S::damien.galasso@capgemini.com::7f12dbef-39e8-4f8c-9127-a94d7215092c" providerId="AD" clId="Web-{3F34B1F9-EB8D-40CD-9AA8-D908ECB05789}" dt="2020-09-09T13:53:06.492" v="31"/>
        <pc:sldMkLst>
          <pc:docMk/>
          <pc:sldMk cId="0" sldId="282"/>
        </pc:sldMkLst>
      </pc:sldChg>
      <pc:sldChg chg="del">
        <pc:chgData name="GALASSO, Damien" userId="S::damien.galasso@capgemini.com::7f12dbef-39e8-4f8c-9127-a94d7215092c" providerId="AD" clId="Web-{3F34B1F9-EB8D-40CD-9AA8-D908ECB05789}" dt="2020-09-09T13:53:04.695" v="30"/>
        <pc:sldMkLst>
          <pc:docMk/>
          <pc:sldMk cId="0" sldId="283"/>
        </pc:sldMkLst>
      </pc:sldChg>
      <pc:sldChg chg="del">
        <pc:chgData name="GALASSO, Damien" userId="S::damien.galasso@capgemini.com::7f12dbef-39e8-4f8c-9127-a94d7215092c" providerId="AD" clId="Web-{3F34B1F9-EB8D-40CD-9AA8-D908ECB05789}" dt="2020-09-09T13:53:03.164" v="29"/>
        <pc:sldMkLst>
          <pc:docMk/>
          <pc:sldMk cId="0" sldId="284"/>
        </pc:sldMkLst>
      </pc:sldChg>
      <pc:sldChg chg="del">
        <pc:chgData name="GALASSO, Damien" userId="S::damien.galasso@capgemini.com::7f12dbef-39e8-4f8c-9127-a94d7215092c" providerId="AD" clId="Web-{3F34B1F9-EB8D-40CD-9AA8-D908ECB05789}" dt="2020-09-09T13:53:01.242" v="28"/>
        <pc:sldMkLst>
          <pc:docMk/>
          <pc:sldMk cId="0" sldId="285"/>
        </pc:sldMkLst>
      </pc:sldChg>
      <pc:sldChg chg="del">
        <pc:chgData name="GALASSO, Damien" userId="S::damien.galasso@capgemini.com::7f12dbef-39e8-4f8c-9127-a94d7215092c" providerId="AD" clId="Web-{3F34B1F9-EB8D-40CD-9AA8-D908ECB05789}" dt="2020-09-09T13:52:58.788" v="27"/>
        <pc:sldMkLst>
          <pc:docMk/>
          <pc:sldMk cId="0" sldId="286"/>
        </pc:sldMkLst>
      </pc:sldChg>
      <pc:sldChg chg="del">
        <pc:chgData name="GALASSO, Damien" userId="S::damien.galasso@capgemini.com::7f12dbef-39e8-4f8c-9127-a94d7215092c" providerId="AD" clId="Web-{3F34B1F9-EB8D-40CD-9AA8-D908ECB05789}" dt="2020-09-09T13:52:42.709" v="20"/>
        <pc:sldMkLst>
          <pc:docMk/>
          <pc:sldMk cId="0" sldId="288"/>
        </pc:sldMkLst>
      </pc:sldChg>
      <pc:sldChg chg="del">
        <pc:chgData name="GALASSO, Damien" userId="S::damien.galasso@capgemini.com::7f12dbef-39e8-4f8c-9127-a94d7215092c" providerId="AD" clId="Web-{3F34B1F9-EB8D-40CD-9AA8-D908ECB05789}" dt="2020-09-09T13:52:41.271" v="19"/>
        <pc:sldMkLst>
          <pc:docMk/>
          <pc:sldMk cId="0" sldId="289"/>
        </pc:sldMkLst>
      </pc:sldChg>
      <pc:sldChg chg="del">
        <pc:chgData name="GALASSO, Damien" userId="S::damien.galasso@capgemini.com::7f12dbef-39e8-4f8c-9127-a94d7215092c" providerId="AD" clId="Web-{3F34B1F9-EB8D-40CD-9AA8-D908ECB05789}" dt="2020-09-09T13:53:15.915" v="37"/>
        <pc:sldMkLst>
          <pc:docMk/>
          <pc:sldMk cId="0" sldId="290"/>
        </pc:sldMkLst>
      </pc:sldChg>
      <pc:sldChg chg="del">
        <pc:chgData name="GALASSO, Damien" userId="S::damien.galasso@capgemini.com::7f12dbef-39e8-4f8c-9127-a94d7215092c" providerId="AD" clId="Web-{3F34B1F9-EB8D-40CD-9AA8-D908ECB05789}" dt="2020-09-09T13:53:21.212" v="40"/>
        <pc:sldMkLst>
          <pc:docMk/>
          <pc:sldMk cId="1445110691" sldId="291"/>
        </pc:sldMkLst>
      </pc:sldChg>
      <pc:sldChg chg="del">
        <pc:chgData name="GALASSO, Damien" userId="S::damien.galasso@capgemini.com::7f12dbef-39e8-4f8c-9127-a94d7215092c" providerId="AD" clId="Web-{3F34B1F9-EB8D-40CD-9AA8-D908ECB05789}" dt="2020-09-09T13:52:32.973" v="18"/>
        <pc:sldMkLst>
          <pc:docMk/>
          <pc:sldMk cId="3986561876" sldId="293"/>
        </pc:sldMkLst>
      </pc:sldChg>
      <pc:sldChg chg="del">
        <pc:chgData name="GALASSO, Damien" userId="S::damien.galasso@capgemini.com::7f12dbef-39e8-4f8c-9127-a94d7215092c" providerId="AD" clId="Web-{3F34B1F9-EB8D-40CD-9AA8-D908ECB05789}" dt="2020-09-09T13:52:49.897" v="22"/>
        <pc:sldMkLst>
          <pc:docMk/>
          <pc:sldMk cId="3274340437" sldId="294"/>
        </pc:sldMkLst>
      </pc:sldChg>
      <pc:sldChg chg="modSp">
        <pc:chgData name="GALASSO, Damien" userId="S::damien.galasso@capgemini.com::7f12dbef-39e8-4f8c-9127-a94d7215092c" providerId="AD" clId="Web-{3F34B1F9-EB8D-40CD-9AA8-D908ECB05789}" dt="2020-09-09T13:43:57.677" v="9" actId="20577"/>
        <pc:sldMkLst>
          <pc:docMk/>
          <pc:sldMk cId="2716846013" sldId="306"/>
        </pc:sldMkLst>
        <pc:spChg chg="mod">
          <ac:chgData name="GALASSO, Damien" userId="S::damien.galasso@capgemini.com::7f12dbef-39e8-4f8c-9127-a94d7215092c" providerId="AD" clId="Web-{3F34B1F9-EB8D-40CD-9AA8-D908ECB05789}" dt="2020-09-09T13:43:57.677" v="9" actId="20577"/>
          <ac:spMkLst>
            <pc:docMk/>
            <pc:sldMk cId="2716846013" sldId="306"/>
            <ac:spMk id="3" creationId="{D656B652-C7E9-42C5-AEEE-72EF1D0EE89B}"/>
          </ac:spMkLst>
        </pc:spChg>
      </pc:sldChg>
      <pc:sldChg chg="delSp modSp">
        <pc:chgData name="GALASSO, Damien" userId="S::damien.galasso@capgemini.com::7f12dbef-39e8-4f8c-9127-a94d7215092c" providerId="AD" clId="Web-{3F34B1F9-EB8D-40CD-9AA8-D908ECB05789}" dt="2020-09-09T13:48:19.982" v="13"/>
        <pc:sldMkLst>
          <pc:docMk/>
          <pc:sldMk cId="0" sldId="310"/>
        </pc:sldMkLst>
        <pc:spChg chg="del mod">
          <ac:chgData name="GALASSO, Damien" userId="S::damien.galasso@capgemini.com::7f12dbef-39e8-4f8c-9127-a94d7215092c" providerId="AD" clId="Web-{3F34B1F9-EB8D-40CD-9AA8-D908ECB05789}" dt="2020-09-09T13:48:19.982" v="13"/>
          <ac:spMkLst>
            <pc:docMk/>
            <pc:sldMk cId="0" sldId="310"/>
            <ac:spMk id="3" creationId="{9F729B3D-D179-4831-B679-E773A0698860}"/>
          </ac:spMkLst>
        </pc:spChg>
      </pc:sldChg>
      <pc:sldChg chg="modSp">
        <pc:chgData name="GALASSO, Damien" userId="S::damien.galasso@capgemini.com::7f12dbef-39e8-4f8c-9127-a94d7215092c" providerId="AD" clId="Web-{3F34B1F9-EB8D-40CD-9AA8-D908ECB05789}" dt="2020-09-09T13:53:50.105" v="44" actId="1076"/>
        <pc:sldMkLst>
          <pc:docMk/>
          <pc:sldMk cId="0" sldId="311"/>
        </pc:sldMkLst>
        <pc:spChg chg="mod">
          <ac:chgData name="GALASSO, Damien" userId="S::damien.galasso@capgemini.com::7f12dbef-39e8-4f8c-9127-a94d7215092c" providerId="AD" clId="Web-{3F34B1F9-EB8D-40CD-9AA8-D908ECB05789}" dt="2020-09-09T13:53:42.886" v="43" actId="1076"/>
          <ac:spMkLst>
            <pc:docMk/>
            <pc:sldMk cId="0" sldId="311"/>
            <ac:spMk id="192" creationId="{00000000-0000-0000-0000-000000000000}"/>
          </ac:spMkLst>
        </pc:spChg>
        <pc:picChg chg="mod">
          <ac:chgData name="GALASSO, Damien" userId="S::damien.galasso@capgemini.com::7f12dbef-39e8-4f8c-9127-a94d7215092c" providerId="AD" clId="Web-{3F34B1F9-EB8D-40CD-9AA8-D908ECB05789}" dt="2020-09-09T13:53:50.105" v="44" actId="1076"/>
          <ac:picMkLst>
            <pc:docMk/>
            <pc:sldMk cId="0" sldId="311"/>
            <ac:picMk id="193" creationId="{00000000-0000-0000-0000-000000000000}"/>
          </ac:picMkLst>
        </pc:picChg>
      </pc:sldChg>
      <pc:sldChg chg="delSp modSp">
        <pc:chgData name="GALASSO, Damien" userId="S::damien.galasso@capgemini.com::7f12dbef-39e8-4f8c-9127-a94d7215092c" providerId="AD" clId="Web-{3F34B1F9-EB8D-40CD-9AA8-D908ECB05789}" dt="2020-09-09T13:51:34.687" v="15"/>
        <pc:sldMkLst>
          <pc:docMk/>
          <pc:sldMk cId="0" sldId="312"/>
        </pc:sldMkLst>
        <pc:spChg chg="del mod">
          <ac:chgData name="GALASSO, Damien" userId="S::damien.galasso@capgemini.com::7f12dbef-39e8-4f8c-9127-a94d7215092c" providerId="AD" clId="Web-{3F34B1F9-EB8D-40CD-9AA8-D908ECB05789}" dt="2020-09-09T13:51:34.687" v="15"/>
          <ac:spMkLst>
            <pc:docMk/>
            <pc:sldMk cId="0" sldId="312"/>
            <ac:spMk id="2" creationId="{3504E00E-775A-4FF2-98ED-EFEB2C162357}"/>
          </ac:spMkLst>
        </pc:spChg>
      </pc:sldChg>
    </pc:docChg>
  </pc:docChgLst>
  <pc:docChgLst>
    <pc:chgData name="FLAMENT, Bruno" userId="S::bruno.flament@capgemini.com::de63c4a3-01af-44ba-95bb-6f8fcaf1ef68" providerId="AD" clId="Web-{19CF1964-F4B5-4ACF-4CFF-7C206108F51C}"/>
    <pc:docChg chg="addSld">
      <pc:chgData name="FLAMENT, Bruno" userId="S::bruno.flament@capgemini.com::de63c4a3-01af-44ba-95bb-6f8fcaf1ef68" providerId="AD" clId="Web-{19CF1964-F4B5-4ACF-4CFF-7C206108F51C}" dt="2020-09-09T12:17:36.896" v="0"/>
      <pc:docMkLst>
        <pc:docMk/>
      </pc:docMkLst>
      <pc:sldChg chg="new">
        <pc:chgData name="FLAMENT, Bruno" userId="S::bruno.flament@capgemini.com::de63c4a3-01af-44ba-95bb-6f8fcaf1ef68" providerId="AD" clId="Web-{19CF1964-F4B5-4ACF-4CFF-7C206108F51C}" dt="2020-09-09T12:17:36.896" v="0"/>
        <pc:sldMkLst>
          <pc:docMk/>
          <pc:sldMk cId="3843455302" sldId="314"/>
        </pc:sldMkLst>
      </pc:sldChg>
    </pc:docChg>
  </pc:docChgLst>
  <pc:docChgLst>
    <pc:chgData name="FLAMENT, Bruno" userId="S::bruno.flament@capgemini.com::de63c4a3-01af-44ba-95bb-6f8fcaf1ef68" providerId="AD" clId="Web-{FAF9B7A6-8E06-49B7-9D2C-0FE3A6FEE4E5}"/>
    <pc:docChg chg="modSld">
      <pc:chgData name="FLAMENT, Bruno" userId="S::bruno.flament@capgemini.com::de63c4a3-01af-44ba-95bb-6f8fcaf1ef68" providerId="AD" clId="Web-{FAF9B7A6-8E06-49B7-9D2C-0FE3A6FEE4E5}" dt="2020-09-23T10:17:17.001" v="864" actId="1076"/>
      <pc:docMkLst>
        <pc:docMk/>
      </pc:docMkLst>
      <pc:sldChg chg="addSp delSp modSp">
        <pc:chgData name="FLAMENT, Bruno" userId="S::bruno.flament@capgemini.com::de63c4a3-01af-44ba-95bb-6f8fcaf1ef68" providerId="AD" clId="Web-{FAF9B7A6-8E06-49B7-9D2C-0FE3A6FEE4E5}" dt="2020-09-23T10:00:06.028" v="641" actId="20577"/>
        <pc:sldMkLst>
          <pc:docMk/>
          <pc:sldMk cId="3746705426" sldId="330"/>
        </pc:sldMkLst>
        <pc:spChg chg="mod">
          <ac:chgData name="FLAMENT, Bruno" userId="S::bruno.flament@capgemini.com::de63c4a3-01af-44ba-95bb-6f8fcaf1ef68" providerId="AD" clId="Web-{FAF9B7A6-8E06-49B7-9D2C-0FE3A6FEE4E5}" dt="2020-09-23T10:00:06.028" v="641" actId="20577"/>
          <ac:spMkLst>
            <pc:docMk/>
            <pc:sldMk cId="3746705426" sldId="330"/>
            <ac:spMk id="3" creationId="{94877C5B-2323-400F-95CE-6C47F22676F5}"/>
          </ac:spMkLst>
        </pc:spChg>
        <pc:picChg chg="add del mod">
          <ac:chgData name="FLAMENT, Bruno" userId="S::bruno.flament@capgemini.com::de63c4a3-01af-44ba-95bb-6f8fcaf1ef68" providerId="AD" clId="Web-{FAF9B7A6-8E06-49B7-9D2C-0FE3A6FEE4E5}" dt="2020-09-23T09:25:48.144" v="219"/>
          <ac:picMkLst>
            <pc:docMk/>
            <pc:sldMk cId="3746705426" sldId="330"/>
            <ac:picMk id="2" creationId="{54775F5C-16C1-4E6C-91DB-F34A09FBCB53}"/>
          </ac:picMkLst>
        </pc:picChg>
      </pc:sldChg>
      <pc:sldChg chg="addSp delSp modSp">
        <pc:chgData name="FLAMENT, Bruno" userId="S::bruno.flament@capgemini.com::de63c4a3-01af-44ba-95bb-6f8fcaf1ef68" providerId="AD" clId="Web-{FAF9B7A6-8E06-49B7-9D2C-0FE3A6FEE4E5}" dt="2020-09-23T10:16:31.686" v="856" actId="20577"/>
        <pc:sldMkLst>
          <pc:docMk/>
          <pc:sldMk cId="3749144415" sldId="333"/>
        </pc:sldMkLst>
        <pc:spChg chg="add del">
          <ac:chgData name="FLAMENT, Bruno" userId="S::bruno.flament@capgemini.com::de63c4a3-01af-44ba-95bb-6f8fcaf1ef68" providerId="AD" clId="Web-{FAF9B7A6-8E06-49B7-9D2C-0FE3A6FEE4E5}" dt="2020-09-23T09:42:24.271" v="315"/>
          <ac:spMkLst>
            <pc:docMk/>
            <pc:sldMk cId="3749144415" sldId="333"/>
            <ac:spMk id="4" creationId="{F3DAB985-ED5B-488E-B069-2697D2A9B0AB}"/>
          </ac:spMkLst>
        </pc:spChg>
        <pc:spChg chg="add mod">
          <ac:chgData name="FLAMENT, Bruno" userId="S::bruno.flament@capgemini.com::de63c4a3-01af-44ba-95bb-6f8fcaf1ef68" providerId="AD" clId="Web-{FAF9B7A6-8E06-49B7-9D2C-0FE3A6FEE4E5}" dt="2020-09-23T10:16:31.686" v="856" actId="20577"/>
          <ac:spMkLst>
            <pc:docMk/>
            <pc:sldMk cId="3749144415" sldId="333"/>
            <ac:spMk id="5" creationId="{FA564DA2-F6C3-4317-B6E1-F83A45876CF4}"/>
          </ac:spMkLst>
        </pc:spChg>
        <pc:spChg chg="del">
          <ac:chgData name="FLAMENT, Bruno" userId="S::bruno.flament@capgemini.com::de63c4a3-01af-44ba-95bb-6f8fcaf1ef68" providerId="AD" clId="Web-{FAF9B7A6-8E06-49B7-9D2C-0FE3A6FEE4E5}" dt="2020-09-23T09:27:11.712" v="281"/>
          <ac:spMkLst>
            <pc:docMk/>
            <pc:sldMk cId="3749144415" sldId="333"/>
            <ac:spMk id="11" creationId="{4B5C5D49-AB39-464D-9AED-014BF1FFFC59}"/>
          </ac:spMkLst>
        </pc:spChg>
        <pc:spChg chg="mod">
          <ac:chgData name="FLAMENT, Bruno" userId="S::bruno.flament@capgemini.com::de63c4a3-01af-44ba-95bb-6f8fcaf1ef68" providerId="AD" clId="Web-{FAF9B7A6-8E06-49B7-9D2C-0FE3A6FEE4E5}" dt="2020-09-23T09:46:19.255" v="393" actId="14100"/>
          <ac:spMkLst>
            <pc:docMk/>
            <pc:sldMk cId="3749144415" sldId="333"/>
            <ac:spMk id="13" creationId="{65DCBDD0-A8B8-44E5-8BFA-EB5CA7BBF516}"/>
          </ac:spMkLst>
        </pc:spChg>
      </pc:sldChg>
      <pc:sldChg chg="modSp">
        <pc:chgData name="FLAMENT, Bruno" userId="S::bruno.flament@capgemini.com::de63c4a3-01af-44ba-95bb-6f8fcaf1ef68" providerId="AD" clId="Web-{FAF9B7A6-8E06-49B7-9D2C-0FE3A6FEE4E5}" dt="2020-09-23T10:17:17.001" v="864" actId="1076"/>
        <pc:sldMkLst>
          <pc:docMk/>
          <pc:sldMk cId="1960341879" sldId="334"/>
        </pc:sldMkLst>
        <pc:spChg chg="mod">
          <ac:chgData name="FLAMENT, Bruno" userId="S::bruno.flament@capgemini.com::de63c4a3-01af-44ba-95bb-6f8fcaf1ef68" providerId="AD" clId="Web-{FAF9B7A6-8E06-49B7-9D2C-0FE3A6FEE4E5}" dt="2020-09-23T09:46:54.570" v="399" actId="20577"/>
          <ac:spMkLst>
            <pc:docMk/>
            <pc:sldMk cId="1960341879" sldId="334"/>
            <ac:spMk id="4" creationId="{2B0C00D4-C914-450C-AC3B-6390CF351EE8}"/>
          </ac:spMkLst>
        </pc:spChg>
        <pc:graphicFrameChg chg="mod modGraphic">
          <ac:chgData name="FLAMENT, Bruno" userId="S::bruno.flament@capgemini.com::de63c4a3-01af-44ba-95bb-6f8fcaf1ef68" providerId="AD" clId="Web-{FAF9B7A6-8E06-49B7-9D2C-0FE3A6FEE4E5}" dt="2020-09-23T10:17:16.876" v="863" actId="1076"/>
          <ac:graphicFrameMkLst>
            <pc:docMk/>
            <pc:sldMk cId="1960341879" sldId="334"/>
            <ac:graphicFrameMk id="20" creationId="{261DB1AC-5E7C-40AA-8817-7B2640E08B6F}"/>
          </ac:graphicFrameMkLst>
        </pc:graphicFrameChg>
        <pc:graphicFrameChg chg="mod modGraphic">
          <ac:chgData name="FLAMENT, Bruno" userId="S::bruno.flament@capgemini.com::de63c4a3-01af-44ba-95bb-6f8fcaf1ef68" providerId="AD" clId="Web-{FAF9B7A6-8E06-49B7-9D2C-0FE3A6FEE4E5}" dt="2020-09-23T10:17:17.001" v="864" actId="1076"/>
          <ac:graphicFrameMkLst>
            <pc:docMk/>
            <pc:sldMk cId="1960341879" sldId="334"/>
            <ac:graphicFrameMk id="21" creationId="{B49BAA2D-5D14-471F-AE9A-213404B89340}"/>
          </ac:graphicFrameMkLst>
        </pc:graphicFrameChg>
      </pc:sldChg>
      <pc:sldChg chg="addSp delSp modSp">
        <pc:chgData name="FLAMENT, Bruno" userId="S::bruno.flament@capgemini.com::de63c4a3-01af-44ba-95bb-6f8fcaf1ef68" providerId="AD" clId="Web-{FAF9B7A6-8E06-49B7-9D2C-0FE3A6FEE4E5}" dt="2020-09-23T10:04:34.202" v="708" actId="20577"/>
        <pc:sldMkLst>
          <pc:docMk/>
          <pc:sldMk cId="3273455644" sldId="335"/>
        </pc:sldMkLst>
        <pc:spChg chg="mod">
          <ac:chgData name="FLAMENT, Bruno" userId="S::bruno.flament@capgemini.com::de63c4a3-01af-44ba-95bb-6f8fcaf1ef68" providerId="AD" clId="Web-{FAF9B7A6-8E06-49B7-9D2C-0FE3A6FEE4E5}" dt="2020-09-23T09:49:49.082" v="493" actId="1076"/>
          <ac:spMkLst>
            <pc:docMk/>
            <pc:sldMk cId="3273455644" sldId="335"/>
            <ac:spMk id="3" creationId="{96B2BC18-048F-4DD3-A0D0-8ADB2A83B796}"/>
          </ac:spMkLst>
        </pc:spChg>
        <pc:spChg chg="mod">
          <ac:chgData name="FLAMENT, Bruno" userId="S::bruno.flament@capgemini.com::de63c4a3-01af-44ba-95bb-6f8fcaf1ef68" providerId="AD" clId="Web-{FAF9B7A6-8E06-49B7-9D2C-0FE3A6FEE4E5}" dt="2020-09-23T09:49:24.408" v="437" actId="20577"/>
          <ac:spMkLst>
            <pc:docMk/>
            <pc:sldMk cId="3273455644" sldId="335"/>
            <ac:spMk id="4" creationId="{2B0C00D4-C914-450C-AC3B-6390CF351EE8}"/>
          </ac:spMkLst>
        </pc:spChg>
        <pc:spChg chg="add mod">
          <ac:chgData name="FLAMENT, Bruno" userId="S::bruno.flament@capgemini.com::de63c4a3-01af-44ba-95bb-6f8fcaf1ef68" providerId="AD" clId="Web-{FAF9B7A6-8E06-49B7-9D2C-0FE3A6FEE4E5}" dt="2020-09-23T10:04:34.202" v="708" actId="20577"/>
          <ac:spMkLst>
            <pc:docMk/>
            <pc:sldMk cId="3273455644" sldId="335"/>
            <ac:spMk id="7" creationId="{4DCC0834-A1E3-4D80-B9CB-5ED0A7AF9051}"/>
          </ac:spMkLst>
        </pc:spChg>
        <pc:spChg chg="del mod">
          <ac:chgData name="FLAMENT, Bruno" userId="S::bruno.flament@capgemini.com::de63c4a3-01af-44ba-95bb-6f8fcaf1ef68" providerId="AD" clId="Web-{FAF9B7A6-8E06-49B7-9D2C-0FE3A6FEE4E5}" dt="2020-09-23T09:06:08.036" v="73"/>
          <ac:spMkLst>
            <pc:docMk/>
            <pc:sldMk cId="3273455644" sldId="335"/>
            <ac:spMk id="13" creationId="{4FC6165F-B5B7-496F-A55F-EACA25F48E2C}"/>
          </ac:spMkLst>
        </pc:spChg>
        <pc:picChg chg="mod">
          <ac:chgData name="FLAMENT, Bruno" userId="S::bruno.flament@capgemini.com::de63c4a3-01af-44ba-95bb-6f8fcaf1ef68" providerId="AD" clId="Web-{FAF9B7A6-8E06-49B7-9D2C-0FE3A6FEE4E5}" dt="2020-09-23T09:13:42.612" v="122" actId="1076"/>
          <ac:picMkLst>
            <pc:docMk/>
            <pc:sldMk cId="3273455644" sldId="335"/>
            <ac:picMk id="2" creationId="{7C7F8463-7255-4956-B3B9-6E7371527D04}"/>
          </ac:picMkLst>
        </pc:picChg>
      </pc:sldChg>
      <pc:sldChg chg="addSp delSp modSp">
        <pc:chgData name="FLAMENT, Bruno" userId="S::bruno.flament@capgemini.com::de63c4a3-01af-44ba-95bb-6f8fcaf1ef68" providerId="AD" clId="Web-{FAF9B7A6-8E06-49B7-9D2C-0FE3A6FEE4E5}" dt="2020-09-23T10:15:47.089" v="852" actId="1076"/>
        <pc:sldMkLst>
          <pc:docMk/>
          <pc:sldMk cId="3581971898" sldId="339"/>
        </pc:sldMkLst>
        <pc:spChg chg="mod">
          <ac:chgData name="FLAMENT, Bruno" userId="S::bruno.flament@capgemini.com::de63c4a3-01af-44ba-95bb-6f8fcaf1ef68" providerId="AD" clId="Web-{FAF9B7A6-8E06-49B7-9D2C-0FE3A6FEE4E5}" dt="2020-09-23T10:15:39.323" v="850" actId="20577"/>
          <ac:spMkLst>
            <pc:docMk/>
            <pc:sldMk cId="3581971898" sldId="339"/>
            <ac:spMk id="2" creationId="{873D6D03-65C0-4C70-A38C-DD800CC83B45}"/>
          </ac:spMkLst>
        </pc:spChg>
        <pc:spChg chg="mod">
          <ac:chgData name="FLAMENT, Bruno" userId="S::bruno.flament@capgemini.com::de63c4a3-01af-44ba-95bb-6f8fcaf1ef68" providerId="AD" clId="Web-{FAF9B7A6-8E06-49B7-9D2C-0FE3A6FEE4E5}" dt="2020-09-23T10:15:18.478" v="835" actId="1076"/>
          <ac:spMkLst>
            <pc:docMk/>
            <pc:sldMk cId="3581971898" sldId="339"/>
            <ac:spMk id="3" creationId="{BB3FE2EE-FA2F-44B1-89B4-678008E848FC}"/>
          </ac:spMkLst>
        </pc:spChg>
        <pc:spChg chg="mod">
          <ac:chgData name="FLAMENT, Bruno" userId="S::bruno.flament@capgemini.com::de63c4a3-01af-44ba-95bb-6f8fcaf1ef68" providerId="AD" clId="Web-{FAF9B7A6-8E06-49B7-9D2C-0FE3A6FEE4E5}" dt="2020-09-23T10:15:03.414" v="829" actId="20577"/>
          <ac:spMkLst>
            <pc:docMk/>
            <pc:sldMk cId="3581971898" sldId="339"/>
            <ac:spMk id="4" creationId="{F73278D5-3E40-4631-A83A-B7A1851A4CC4}"/>
          </ac:spMkLst>
        </pc:spChg>
        <pc:spChg chg="add del mod">
          <ac:chgData name="FLAMENT, Bruno" userId="S::bruno.flament@capgemini.com::de63c4a3-01af-44ba-95bb-6f8fcaf1ef68" providerId="AD" clId="Web-{FAF9B7A6-8E06-49B7-9D2C-0FE3A6FEE4E5}" dt="2020-09-23T09:16:38.968" v="151"/>
          <ac:spMkLst>
            <pc:docMk/>
            <pc:sldMk cId="3581971898" sldId="339"/>
            <ac:spMk id="7" creationId="{B394070F-86BE-4618-B109-C8C6C5808BBB}"/>
          </ac:spMkLst>
        </pc:spChg>
        <pc:spChg chg="add del mod">
          <ac:chgData name="FLAMENT, Bruno" userId="S::bruno.flament@capgemini.com::de63c4a3-01af-44ba-95bb-6f8fcaf1ef68" providerId="AD" clId="Web-{FAF9B7A6-8E06-49B7-9D2C-0FE3A6FEE4E5}" dt="2020-09-23T10:14:02.332" v="799"/>
          <ac:spMkLst>
            <pc:docMk/>
            <pc:sldMk cId="3581971898" sldId="339"/>
            <ac:spMk id="8" creationId="{73D229B1-5DDB-4895-8220-9CFF9AE5CF8D}"/>
          </ac:spMkLst>
        </pc:spChg>
        <pc:picChg chg="add mod">
          <ac:chgData name="FLAMENT, Bruno" userId="S::bruno.flament@capgemini.com::de63c4a3-01af-44ba-95bb-6f8fcaf1ef68" providerId="AD" clId="Web-{FAF9B7A6-8E06-49B7-9D2C-0FE3A6FEE4E5}" dt="2020-09-23T10:15:47.089" v="852" actId="1076"/>
          <ac:picMkLst>
            <pc:docMk/>
            <pc:sldMk cId="3581971898" sldId="339"/>
            <ac:picMk id="6" creationId="{D4F690B4-086B-442F-9449-52D2AEE882F3}"/>
          </ac:picMkLst>
        </pc:picChg>
      </pc:sldChg>
    </pc:docChg>
  </pc:docChgLst>
  <pc:docChgLst>
    <pc:chgData name="DEQUIDT, Gauthier" userId="S::gauthier.dequidt@capgemini.com::60721c13-73eb-487e-af7c-ef37b1d9e21e" providerId="AD" clId="Web-{62C35110-DD55-4BAB-B974-9753A7478779}"/>
    <pc:docChg chg="modSld">
      <pc:chgData name="DEQUIDT, Gauthier" userId="S::gauthier.dequidt@capgemini.com::60721c13-73eb-487e-af7c-ef37b1d9e21e" providerId="AD" clId="Web-{62C35110-DD55-4BAB-B974-9753A7478779}" dt="2020-09-23T10:00:44.215" v="325" actId="20577"/>
      <pc:docMkLst>
        <pc:docMk/>
      </pc:docMkLst>
      <pc:sldChg chg="modSp">
        <pc:chgData name="DEQUIDT, Gauthier" userId="S::gauthier.dequidt@capgemini.com::60721c13-73eb-487e-af7c-ef37b1d9e21e" providerId="AD" clId="Web-{62C35110-DD55-4BAB-B974-9753A7478779}" dt="2020-09-23T09:25:42.235" v="272" actId="20577"/>
        <pc:sldMkLst>
          <pc:docMk/>
          <pc:sldMk cId="0" sldId="264"/>
        </pc:sldMkLst>
        <pc:spChg chg="mod">
          <ac:chgData name="DEQUIDT, Gauthier" userId="S::gauthier.dequidt@capgemini.com::60721c13-73eb-487e-af7c-ef37b1d9e21e" providerId="AD" clId="Web-{62C35110-DD55-4BAB-B974-9753A7478779}" dt="2020-09-23T09:25:42.235" v="272" actId="20577"/>
          <ac:spMkLst>
            <pc:docMk/>
            <pc:sldMk cId="0" sldId="264"/>
            <ac:spMk id="10" creationId="{0BADD81F-6117-4EFD-A903-9C033E7319F1}"/>
          </ac:spMkLst>
        </pc:spChg>
      </pc:sldChg>
      <pc:sldChg chg="modSp">
        <pc:chgData name="DEQUIDT, Gauthier" userId="S::gauthier.dequidt@capgemini.com::60721c13-73eb-487e-af7c-ef37b1d9e21e" providerId="AD" clId="Web-{62C35110-DD55-4BAB-B974-9753A7478779}" dt="2020-09-23T09:26:15.689" v="274" actId="1076"/>
        <pc:sldMkLst>
          <pc:docMk/>
          <pc:sldMk cId="0" sldId="265"/>
        </pc:sldMkLst>
        <pc:spChg chg="mod">
          <ac:chgData name="DEQUIDT, Gauthier" userId="S::gauthier.dequidt@capgemini.com::60721c13-73eb-487e-af7c-ef37b1d9e21e" providerId="AD" clId="Web-{62C35110-DD55-4BAB-B974-9753A7478779}" dt="2020-09-23T09:26:15.689" v="274" actId="1076"/>
          <ac:spMkLst>
            <pc:docMk/>
            <pc:sldMk cId="0" sldId="265"/>
            <ac:spMk id="5" creationId="{00000000-0000-0000-0000-000000000000}"/>
          </ac:spMkLst>
        </pc:spChg>
      </pc:sldChg>
      <pc:sldChg chg="modSp">
        <pc:chgData name="DEQUIDT, Gauthier" userId="S::gauthier.dequidt@capgemini.com::60721c13-73eb-487e-af7c-ef37b1d9e21e" providerId="AD" clId="Web-{62C35110-DD55-4BAB-B974-9753A7478779}" dt="2020-09-23T09:05:04.155" v="18" actId="20577"/>
        <pc:sldMkLst>
          <pc:docMk/>
          <pc:sldMk cId="764601814" sldId="296"/>
        </pc:sldMkLst>
        <pc:spChg chg="mod">
          <ac:chgData name="DEQUIDT, Gauthier" userId="S::gauthier.dequidt@capgemini.com::60721c13-73eb-487e-af7c-ef37b1d9e21e" providerId="AD" clId="Web-{62C35110-DD55-4BAB-B974-9753A7478779}" dt="2020-09-23T09:05:04.155" v="18" actId="20577"/>
          <ac:spMkLst>
            <pc:docMk/>
            <pc:sldMk cId="764601814" sldId="296"/>
            <ac:spMk id="5" creationId="{00000000-0000-0000-0000-000000000000}"/>
          </ac:spMkLst>
        </pc:spChg>
      </pc:sldChg>
      <pc:sldChg chg="addSp delSp modSp modNotes">
        <pc:chgData name="DEQUIDT, Gauthier" userId="S::gauthier.dequidt@capgemini.com::60721c13-73eb-487e-af7c-ef37b1d9e21e" providerId="AD" clId="Web-{62C35110-DD55-4BAB-B974-9753A7478779}" dt="2020-09-23T09:20:22.945" v="158"/>
        <pc:sldMkLst>
          <pc:docMk/>
          <pc:sldMk cId="2007445869" sldId="297"/>
        </pc:sldMkLst>
        <pc:spChg chg="add del">
          <ac:chgData name="DEQUIDT, Gauthier" userId="S::gauthier.dequidt@capgemini.com::60721c13-73eb-487e-af7c-ef37b1d9e21e" providerId="AD" clId="Web-{62C35110-DD55-4BAB-B974-9753A7478779}" dt="2020-09-23T09:20:22.945" v="158"/>
          <ac:spMkLst>
            <pc:docMk/>
            <pc:sldMk cId="2007445869" sldId="297"/>
            <ac:spMk id="2" creationId="{9D30C0EC-55CF-411B-BFA8-716BE6F14FE3}"/>
          </ac:spMkLst>
        </pc:spChg>
        <pc:spChg chg="mod">
          <ac:chgData name="DEQUIDT, Gauthier" userId="S::gauthier.dequidt@capgemini.com::60721c13-73eb-487e-af7c-ef37b1d9e21e" providerId="AD" clId="Web-{62C35110-DD55-4BAB-B974-9753A7478779}" dt="2020-09-23T09:19:58.210" v="146" actId="20577"/>
          <ac:spMkLst>
            <pc:docMk/>
            <pc:sldMk cId="2007445869" sldId="297"/>
            <ac:spMk id="4" creationId="{00000000-0000-0000-0000-000000000000}"/>
          </ac:spMkLst>
        </pc:spChg>
        <pc:spChg chg="mod">
          <ac:chgData name="DEQUIDT, Gauthier" userId="S::gauthier.dequidt@capgemini.com::60721c13-73eb-487e-af7c-ef37b1d9e21e" providerId="AD" clId="Web-{62C35110-DD55-4BAB-B974-9753A7478779}" dt="2020-09-23T09:19:50.601" v="144" actId="20577"/>
          <ac:spMkLst>
            <pc:docMk/>
            <pc:sldMk cId="2007445869" sldId="297"/>
            <ac:spMk id="5" creationId="{00000000-0000-0000-0000-000000000000}"/>
          </ac:spMkLst>
        </pc:spChg>
        <pc:spChg chg="mod">
          <ac:chgData name="DEQUIDT, Gauthier" userId="S::gauthier.dequidt@capgemini.com::60721c13-73eb-487e-af7c-ef37b1d9e21e" providerId="AD" clId="Web-{62C35110-DD55-4BAB-B974-9753A7478779}" dt="2020-09-23T09:19:43.053" v="142" actId="20577"/>
          <ac:spMkLst>
            <pc:docMk/>
            <pc:sldMk cId="2007445869" sldId="297"/>
            <ac:spMk id="8" creationId="{00000000-0000-0000-0000-000000000000}"/>
          </ac:spMkLst>
        </pc:spChg>
      </pc:sldChg>
      <pc:sldChg chg="modSp">
        <pc:chgData name="DEQUIDT, Gauthier" userId="S::gauthier.dequidt@capgemini.com::60721c13-73eb-487e-af7c-ef37b1d9e21e" providerId="AD" clId="Web-{62C35110-DD55-4BAB-B974-9753A7478779}" dt="2020-09-23T09:59:20.244" v="310" actId="1076"/>
        <pc:sldMkLst>
          <pc:docMk/>
          <pc:sldMk cId="1097583363" sldId="300"/>
        </pc:sldMkLst>
        <pc:spChg chg="mod">
          <ac:chgData name="DEQUIDT, Gauthier" userId="S::gauthier.dequidt@capgemini.com::60721c13-73eb-487e-af7c-ef37b1d9e21e" providerId="AD" clId="Web-{62C35110-DD55-4BAB-B974-9753A7478779}" dt="2020-09-23T09:59:13.682" v="309" actId="1076"/>
          <ac:spMkLst>
            <pc:docMk/>
            <pc:sldMk cId="1097583363" sldId="300"/>
            <ac:spMk id="29" creationId="{8D3CCBEC-D62E-49FD-93C8-5C48C6EAF81E}"/>
          </ac:spMkLst>
        </pc:spChg>
        <pc:spChg chg="mod">
          <ac:chgData name="DEQUIDT, Gauthier" userId="S::gauthier.dequidt@capgemini.com::60721c13-73eb-487e-af7c-ef37b1d9e21e" providerId="AD" clId="Web-{62C35110-DD55-4BAB-B974-9753A7478779}" dt="2020-09-23T09:59:20.244" v="310" actId="1076"/>
          <ac:spMkLst>
            <pc:docMk/>
            <pc:sldMk cId="1097583363" sldId="300"/>
            <ac:spMk id="31" creationId="{A8141064-FFF6-4954-9999-2838AD9C0B00}"/>
          </ac:spMkLst>
        </pc:spChg>
        <pc:spChg chg="mod">
          <ac:chgData name="DEQUIDT, Gauthier" userId="S::gauthier.dequidt@capgemini.com::60721c13-73eb-487e-af7c-ef37b1d9e21e" providerId="AD" clId="Web-{62C35110-DD55-4BAB-B974-9753A7478779}" dt="2020-09-23T09:59:03.119" v="308" actId="14100"/>
          <ac:spMkLst>
            <pc:docMk/>
            <pc:sldMk cId="1097583363" sldId="300"/>
            <ac:spMk id="70" creationId="{E2F5E3C3-8C95-4F9C-8370-0A1C87237CA8}"/>
          </ac:spMkLst>
        </pc:spChg>
      </pc:sldChg>
      <pc:sldChg chg="modSp">
        <pc:chgData name="DEQUIDT, Gauthier" userId="S::gauthier.dequidt@capgemini.com::60721c13-73eb-487e-af7c-ef37b1d9e21e" providerId="AD" clId="Web-{62C35110-DD55-4BAB-B974-9753A7478779}" dt="2020-09-23T10:00:44.215" v="325" actId="20577"/>
        <pc:sldMkLst>
          <pc:docMk/>
          <pc:sldMk cId="385839263" sldId="302"/>
        </pc:sldMkLst>
        <pc:spChg chg="mod">
          <ac:chgData name="DEQUIDT, Gauthier" userId="S::gauthier.dequidt@capgemini.com::60721c13-73eb-487e-af7c-ef37b1d9e21e" providerId="AD" clId="Web-{62C35110-DD55-4BAB-B974-9753A7478779}" dt="2020-09-23T10:00:44.215" v="325" actId="20577"/>
          <ac:spMkLst>
            <pc:docMk/>
            <pc:sldMk cId="385839263" sldId="302"/>
            <ac:spMk id="2" creationId="{75B04869-A1F6-4243-96ED-71BBC4057557}"/>
          </ac:spMkLst>
        </pc:spChg>
      </pc:sldChg>
      <pc:sldChg chg="modSp">
        <pc:chgData name="DEQUIDT, Gauthier" userId="S::gauthier.dequidt@capgemini.com::60721c13-73eb-487e-af7c-ef37b1d9e21e" providerId="AD" clId="Web-{62C35110-DD55-4BAB-B974-9753A7478779}" dt="2020-09-23T09:22:45.855" v="248" actId="20577"/>
        <pc:sldMkLst>
          <pc:docMk/>
          <pc:sldMk cId="3598614120" sldId="305"/>
        </pc:sldMkLst>
        <pc:spChg chg="mod">
          <ac:chgData name="DEQUIDT, Gauthier" userId="S::gauthier.dequidt@capgemini.com::60721c13-73eb-487e-af7c-ef37b1d9e21e" providerId="AD" clId="Web-{62C35110-DD55-4BAB-B974-9753A7478779}" dt="2020-09-23T09:21:13.712" v="162" actId="20577"/>
          <ac:spMkLst>
            <pc:docMk/>
            <pc:sldMk cId="3598614120" sldId="305"/>
            <ac:spMk id="5" creationId="{00000000-0000-0000-0000-000000000000}"/>
          </ac:spMkLst>
        </pc:spChg>
        <pc:spChg chg="mod">
          <ac:chgData name="DEQUIDT, Gauthier" userId="S::gauthier.dequidt@capgemini.com::60721c13-73eb-487e-af7c-ef37b1d9e21e" providerId="AD" clId="Web-{62C35110-DD55-4BAB-B974-9753A7478779}" dt="2020-09-23T09:22:45.855" v="248" actId="20577"/>
          <ac:spMkLst>
            <pc:docMk/>
            <pc:sldMk cId="3598614120" sldId="305"/>
            <ac:spMk id="8" creationId="{00000000-0000-0000-0000-000000000000}"/>
          </ac:spMkLst>
        </pc:spChg>
        <pc:picChg chg="mod">
          <ac:chgData name="DEQUIDT, Gauthier" userId="S::gauthier.dequidt@capgemini.com::60721c13-73eb-487e-af7c-ef37b1d9e21e" providerId="AD" clId="Web-{62C35110-DD55-4BAB-B974-9753A7478779}" dt="2020-09-23T09:21:42.775" v="188" actId="1076"/>
          <ac:picMkLst>
            <pc:docMk/>
            <pc:sldMk cId="3598614120" sldId="305"/>
            <ac:picMk id="2" creationId="{780E8F65-289C-4724-A449-49AED09CEE22}"/>
          </ac:picMkLst>
        </pc:picChg>
        <pc:picChg chg="mod">
          <ac:chgData name="DEQUIDT, Gauthier" userId="S::gauthier.dequidt@capgemini.com::60721c13-73eb-487e-af7c-ef37b1d9e21e" providerId="AD" clId="Web-{62C35110-DD55-4BAB-B974-9753A7478779}" dt="2020-09-23T09:21:40.228" v="187" actId="1076"/>
          <ac:picMkLst>
            <pc:docMk/>
            <pc:sldMk cId="3598614120" sldId="305"/>
            <ac:picMk id="3" creationId="{2249E8E0-50DA-4601-B641-BE9AF97DF611}"/>
          </ac:picMkLst>
        </pc:picChg>
        <pc:picChg chg="mod">
          <ac:chgData name="DEQUIDT, Gauthier" userId="S::gauthier.dequidt@capgemini.com::60721c13-73eb-487e-af7c-ef37b1d9e21e" providerId="AD" clId="Web-{62C35110-DD55-4BAB-B974-9753A7478779}" dt="2020-09-23T09:21:37.150" v="186" actId="1076"/>
          <ac:picMkLst>
            <pc:docMk/>
            <pc:sldMk cId="3598614120" sldId="305"/>
            <ac:picMk id="6" creationId="{B7CE8843-AE23-4EE1-AFA4-226C8C9F4714}"/>
          </ac:picMkLst>
        </pc:picChg>
        <pc:picChg chg="mod">
          <ac:chgData name="DEQUIDT, Gauthier" userId="S::gauthier.dequidt@capgemini.com::60721c13-73eb-487e-af7c-ef37b1d9e21e" providerId="AD" clId="Web-{62C35110-DD55-4BAB-B974-9753A7478779}" dt="2020-09-23T09:21:34.197" v="185" actId="1076"/>
          <ac:picMkLst>
            <pc:docMk/>
            <pc:sldMk cId="3598614120" sldId="305"/>
            <ac:picMk id="7" creationId="{9E50D237-72D8-4503-A845-224CA18406B3}"/>
          </ac:picMkLst>
        </pc:picChg>
      </pc:sldChg>
      <pc:sldChg chg="modSp">
        <pc:chgData name="DEQUIDT, Gauthier" userId="S::gauthier.dequidt@capgemini.com::60721c13-73eb-487e-af7c-ef37b1d9e21e" providerId="AD" clId="Web-{62C35110-DD55-4BAB-B974-9753A7478779}" dt="2020-09-23T09:26:40.283" v="284" actId="20577"/>
        <pc:sldMkLst>
          <pc:docMk/>
          <pc:sldMk cId="2716846013" sldId="306"/>
        </pc:sldMkLst>
        <pc:spChg chg="mod">
          <ac:chgData name="DEQUIDT, Gauthier" userId="S::gauthier.dequidt@capgemini.com::60721c13-73eb-487e-af7c-ef37b1d9e21e" providerId="AD" clId="Web-{62C35110-DD55-4BAB-B974-9753A7478779}" dt="2020-09-23T09:26:40.283" v="284" actId="20577"/>
          <ac:spMkLst>
            <pc:docMk/>
            <pc:sldMk cId="2716846013" sldId="306"/>
            <ac:spMk id="3" creationId="{D656B652-C7E9-42C5-AEEE-72EF1D0EE89B}"/>
          </ac:spMkLst>
        </pc:spChg>
      </pc:sldChg>
      <pc:sldChg chg="modSp">
        <pc:chgData name="DEQUIDT, Gauthier" userId="S::gauthier.dequidt@capgemini.com::60721c13-73eb-487e-af7c-ef37b1d9e21e" providerId="AD" clId="Web-{62C35110-DD55-4BAB-B974-9753A7478779}" dt="2020-09-23T09:27:09.487" v="302" actId="20577"/>
        <pc:sldMkLst>
          <pc:docMk/>
          <pc:sldMk cId="4293062326" sldId="313"/>
        </pc:sldMkLst>
        <pc:spChg chg="mod">
          <ac:chgData name="DEQUIDT, Gauthier" userId="S::gauthier.dequidt@capgemini.com::60721c13-73eb-487e-af7c-ef37b1d9e21e" providerId="AD" clId="Web-{62C35110-DD55-4BAB-B974-9753A7478779}" dt="2020-09-23T09:27:09.487" v="302" actId="20577"/>
          <ac:spMkLst>
            <pc:docMk/>
            <pc:sldMk cId="4293062326" sldId="313"/>
            <ac:spMk id="4" creationId="{3E335343-BB72-4A58-9830-9D3D8369CA30}"/>
          </ac:spMkLst>
        </pc:spChg>
      </pc:sldChg>
      <pc:sldChg chg="modSp">
        <pc:chgData name="DEQUIDT, Gauthier" userId="S::gauthier.dequidt@capgemini.com::60721c13-73eb-487e-af7c-ef37b1d9e21e" providerId="AD" clId="Web-{62C35110-DD55-4BAB-B974-9753A7478779}" dt="2020-09-23T09:25:27.563" v="268" actId="20577"/>
        <pc:sldMkLst>
          <pc:docMk/>
          <pc:sldMk cId="793218679" sldId="315"/>
        </pc:sldMkLst>
        <pc:spChg chg="mod">
          <ac:chgData name="DEQUIDT, Gauthier" userId="S::gauthier.dequidt@capgemini.com::60721c13-73eb-487e-af7c-ef37b1d9e21e" providerId="AD" clId="Web-{62C35110-DD55-4BAB-B974-9753A7478779}" dt="2020-09-23T09:25:27.563" v="268" actId="20577"/>
          <ac:spMkLst>
            <pc:docMk/>
            <pc:sldMk cId="793218679" sldId="315"/>
            <ac:spMk id="3" creationId="{52F6A2F5-8B1D-4FB1-B760-82A1ADFFD8B9}"/>
          </ac:spMkLst>
        </pc:spChg>
      </pc:sldChg>
      <pc:sldChg chg="modSp">
        <pc:chgData name="DEQUIDT, Gauthier" userId="S::gauthier.dequidt@capgemini.com::60721c13-73eb-487e-af7c-ef37b1d9e21e" providerId="AD" clId="Web-{62C35110-DD55-4BAB-B974-9753A7478779}" dt="2020-09-23T09:24:48.687" v="260" actId="20577"/>
        <pc:sldMkLst>
          <pc:docMk/>
          <pc:sldMk cId="2660931233" sldId="324"/>
        </pc:sldMkLst>
        <pc:spChg chg="mod">
          <ac:chgData name="DEQUIDT, Gauthier" userId="S::gauthier.dequidt@capgemini.com::60721c13-73eb-487e-af7c-ef37b1d9e21e" providerId="AD" clId="Web-{62C35110-DD55-4BAB-B974-9753A7478779}" dt="2020-09-23T09:24:48.687" v="260" actId="20577"/>
          <ac:spMkLst>
            <pc:docMk/>
            <pc:sldMk cId="2660931233" sldId="324"/>
            <ac:spMk id="84" creationId="{00000000-0000-0000-0000-000000000000}"/>
          </ac:spMkLst>
        </pc:spChg>
      </pc:sldChg>
      <pc:sldChg chg="modSp">
        <pc:chgData name="DEQUIDT, Gauthier" userId="S::gauthier.dequidt@capgemini.com::60721c13-73eb-487e-af7c-ef37b1d9e21e" providerId="AD" clId="Web-{62C35110-DD55-4BAB-B974-9753A7478779}" dt="2020-09-23T09:23:11.215" v="253" actId="20577"/>
        <pc:sldMkLst>
          <pc:docMk/>
          <pc:sldMk cId="3746705426" sldId="330"/>
        </pc:sldMkLst>
        <pc:spChg chg="mod">
          <ac:chgData name="DEQUIDT, Gauthier" userId="S::gauthier.dequidt@capgemini.com::60721c13-73eb-487e-af7c-ef37b1d9e21e" providerId="AD" clId="Web-{62C35110-DD55-4BAB-B974-9753A7478779}" dt="2020-09-23T09:23:11.215" v="253" actId="20577"/>
          <ac:spMkLst>
            <pc:docMk/>
            <pc:sldMk cId="3746705426" sldId="330"/>
            <ac:spMk id="3" creationId="{94877C5B-2323-400F-95CE-6C47F22676F5}"/>
          </ac:spMkLst>
        </pc:spChg>
      </pc:sldChg>
      <pc:sldChg chg="modSp">
        <pc:chgData name="DEQUIDT, Gauthier" userId="S::gauthier.dequidt@capgemini.com::60721c13-73eb-487e-af7c-ef37b1d9e21e" providerId="AD" clId="Web-{62C35110-DD55-4BAB-B974-9753A7478779}" dt="2020-09-23T09:23:49.919" v="256" actId="1076"/>
        <pc:sldMkLst>
          <pc:docMk/>
          <pc:sldMk cId="3273455644" sldId="335"/>
        </pc:sldMkLst>
        <pc:spChg chg="mod">
          <ac:chgData name="DEQUIDT, Gauthier" userId="S::gauthier.dequidt@capgemini.com::60721c13-73eb-487e-af7c-ef37b1d9e21e" providerId="AD" clId="Web-{62C35110-DD55-4BAB-B974-9753A7478779}" dt="2020-09-23T09:23:48.435" v="255" actId="1076"/>
          <ac:spMkLst>
            <pc:docMk/>
            <pc:sldMk cId="3273455644" sldId="335"/>
            <ac:spMk id="3" creationId="{96B2BC18-048F-4DD3-A0D0-8ADB2A83B796}"/>
          </ac:spMkLst>
        </pc:spChg>
        <pc:spChg chg="mod">
          <ac:chgData name="DEQUIDT, Gauthier" userId="S::gauthier.dequidt@capgemini.com::60721c13-73eb-487e-af7c-ef37b1d9e21e" providerId="AD" clId="Web-{62C35110-DD55-4BAB-B974-9753A7478779}" dt="2020-09-23T09:23:39.982" v="254" actId="20577"/>
          <ac:spMkLst>
            <pc:docMk/>
            <pc:sldMk cId="3273455644" sldId="335"/>
            <ac:spMk id="4" creationId="{2B0C00D4-C914-450C-AC3B-6390CF351EE8}"/>
          </ac:spMkLst>
        </pc:spChg>
        <pc:picChg chg="mod">
          <ac:chgData name="DEQUIDT, Gauthier" userId="S::gauthier.dequidt@capgemini.com::60721c13-73eb-487e-af7c-ef37b1d9e21e" providerId="AD" clId="Web-{62C35110-DD55-4BAB-B974-9753A7478779}" dt="2020-09-23T09:23:49.919" v="256" actId="1076"/>
          <ac:picMkLst>
            <pc:docMk/>
            <pc:sldMk cId="3273455644" sldId="335"/>
            <ac:picMk id="2" creationId="{7C7F8463-7255-4956-B3B9-6E7371527D04}"/>
          </ac:picMkLst>
        </pc:picChg>
      </pc:sldChg>
      <pc:sldChg chg="modSp">
        <pc:chgData name="DEQUIDT, Gauthier" userId="S::gauthier.dequidt@capgemini.com::60721c13-73eb-487e-af7c-ef37b1d9e21e" providerId="AD" clId="Web-{62C35110-DD55-4BAB-B974-9753A7478779}" dt="2020-09-23T09:24:59.593" v="266" actId="20577"/>
        <pc:sldMkLst>
          <pc:docMk/>
          <pc:sldMk cId="2939952590" sldId="338"/>
        </pc:sldMkLst>
        <pc:spChg chg="mod">
          <ac:chgData name="DEQUIDT, Gauthier" userId="S::gauthier.dequidt@capgemini.com::60721c13-73eb-487e-af7c-ef37b1d9e21e" providerId="AD" clId="Web-{62C35110-DD55-4BAB-B974-9753A7478779}" dt="2020-09-23T09:24:59.593" v="266" actId="20577"/>
          <ac:spMkLst>
            <pc:docMk/>
            <pc:sldMk cId="2939952590" sldId="338"/>
            <ac:spMk id="3" creationId="{94877C5B-2323-400F-95CE-6C47F22676F5}"/>
          </ac:spMkLst>
        </pc:spChg>
      </pc:sldChg>
      <pc:sldChg chg="modSp">
        <pc:chgData name="DEQUIDT, Gauthier" userId="S::gauthier.dequidt@capgemini.com::60721c13-73eb-487e-af7c-ef37b1d9e21e" providerId="AD" clId="Web-{62C35110-DD55-4BAB-B974-9753A7478779}" dt="2020-09-23T09:24:01.279" v="257" actId="20577"/>
        <pc:sldMkLst>
          <pc:docMk/>
          <pc:sldMk cId="3581971898" sldId="339"/>
        </pc:sldMkLst>
        <pc:spChg chg="mod">
          <ac:chgData name="DEQUIDT, Gauthier" userId="S::gauthier.dequidt@capgemini.com::60721c13-73eb-487e-af7c-ef37b1d9e21e" providerId="AD" clId="Web-{62C35110-DD55-4BAB-B974-9753A7478779}" dt="2020-09-23T09:24:01.279" v="257" actId="20577"/>
          <ac:spMkLst>
            <pc:docMk/>
            <pc:sldMk cId="3581971898" sldId="339"/>
            <ac:spMk id="2" creationId="{873D6D03-65C0-4C70-A38C-DD800CC83B45}"/>
          </ac:spMkLst>
        </pc:spChg>
      </pc:sldChg>
    </pc:docChg>
  </pc:docChgLst>
  <pc:docChgLst>
    <pc:chgData name="KRAIDI, Asma" userId="S::asma.kraidi@capgemini.com::fa497f59-9303-418c-b767-b609bcb6ef9f" providerId="AD" clId="Web-{911E2655-ED5F-4890-A83E-7924DE2DC6BC}"/>
    <pc:docChg chg="modSld">
      <pc:chgData name="KRAIDI, Asma" userId="S::asma.kraidi@capgemini.com::fa497f59-9303-418c-b767-b609bcb6ef9f" providerId="AD" clId="Web-{911E2655-ED5F-4890-A83E-7924DE2DC6BC}" dt="2020-09-09T13:49:18.703" v="2" actId="1076"/>
      <pc:docMkLst>
        <pc:docMk/>
      </pc:docMkLst>
      <pc:sldChg chg="delSp">
        <pc:chgData name="KRAIDI, Asma" userId="S::asma.kraidi@capgemini.com::fa497f59-9303-418c-b767-b609bcb6ef9f" providerId="AD" clId="Web-{911E2655-ED5F-4890-A83E-7924DE2DC6BC}" dt="2020-09-09T12:21:48.716" v="0"/>
        <pc:sldMkLst>
          <pc:docMk/>
          <pc:sldMk cId="0" sldId="308"/>
        </pc:sldMkLst>
        <pc:spChg chg="del">
          <ac:chgData name="KRAIDI, Asma" userId="S::asma.kraidi@capgemini.com::fa497f59-9303-418c-b767-b609bcb6ef9f" providerId="AD" clId="Web-{911E2655-ED5F-4890-A83E-7924DE2DC6BC}" dt="2020-09-09T12:21:48.716" v="0"/>
          <ac:spMkLst>
            <pc:docMk/>
            <pc:sldMk cId="0" sldId="308"/>
            <ac:spMk id="2" creationId="{FD39E380-963D-4463-8BD2-83BB01220E4E}"/>
          </ac:spMkLst>
        </pc:spChg>
      </pc:sldChg>
      <pc:sldChg chg="addSp modSp mod modClrScheme chgLayout">
        <pc:chgData name="KRAIDI, Asma" userId="S::asma.kraidi@capgemini.com::fa497f59-9303-418c-b767-b609bcb6ef9f" providerId="AD" clId="Web-{911E2655-ED5F-4890-A83E-7924DE2DC6BC}" dt="2020-09-09T12:22:17.139" v="1"/>
        <pc:sldMkLst>
          <pc:docMk/>
          <pc:sldMk cId="0" sldId="310"/>
        </pc:sldMkLst>
        <pc:spChg chg="mod ord">
          <ac:chgData name="KRAIDI, Asma" userId="S::asma.kraidi@capgemini.com::fa497f59-9303-418c-b767-b609bcb6ef9f" providerId="AD" clId="Web-{911E2655-ED5F-4890-A83E-7924DE2DC6BC}" dt="2020-09-09T12:22:17.139" v="1"/>
          <ac:spMkLst>
            <pc:docMk/>
            <pc:sldMk cId="0" sldId="310"/>
            <ac:spMk id="2" creationId="{E1D1D60C-2CCF-4D10-B029-869CDACCB919}"/>
          </ac:spMkLst>
        </pc:spChg>
        <pc:spChg chg="add mod ord">
          <ac:chgData name="KRAIDI, Asma" userId="S::asma.kraidi@capgemini.com::fa497f59-9303-418c-b767-b609bcb6ef9f" providerId="AD" clId="Web-{911E2655-ED5F-4890-A83E-7924DE2DC6BC}" dt="2020-09-09T12:22:17.139" v="1"/>
          <ac:spMkLst>
            <pc:docMk/>
            <pc:sldMk cId="0" sldId="310"/>
            <ac:spMk id="3" creationId="{9F729B3D-D179-4831-B679-E773A0698860}"/>
          </ac:spMkLst>
        </pc:spChg>
        <pc:spChg chg="mod ord">
          <ac:chgData name="KRAIDI, Asma" userId="S::asma.kraidi@capgemini.com::fa497f59-9303-418c-b767-b609bcb6ef9f" providerId="AD" clId="Web-{911E2655-ED5F-4890-A83E-7924DE2DC6BC}" dt="2020-09-09T12:22:17.139" v="1"/>
          <ac:spMkLst>
            <pc:docMk/>
            <pc:sldMk cId="0" sldId="310"/>
            <ac:spMk id="186" creationId="{00000000-0000-0000-0000-000000000000}"/>
          </ac:spMkLst>
        </pc:spChg>
      </pc:sldChg>
      <pc:sldChg chg="modSp">
        <pc:chgData name="KRAIDI, Asma" userId="S::asma.kraidi@capgemini.com::fa497f59-9303-418c-b767-b609bcb6ef9f" providerId="AD" clId="Web-{911E2655-ED5F-4890-A83E-7924DE2DC6BC}" dt="2020-09-09T13:49:18.703" v="2" actId="1076"/>
        <pc:sldMkLst>
          <pc:docMk/>
          <pc:sldMk cId="0" sldId="311"/>
        </pc:sldMkLst>
        <pc:spChg chg="mod">
          <ac:chgData name="KRAIDI, Asma" userId="S::asma.kraidi@capgemini.com::fa497f59-9303-418c-b767-b609bcb6ef9f" providerId="AD" clId="Web-{911E2655-ED5F-4890-A83E-7924DE2DC6BC}" dt="2020-09-09T13:49:18.703" v="2" actId="1076"/>
          <ac:spMkLst>
            <pc:docMk/>
            <pc:sldMk cId="0" sldId="311"/>
            <ac:spMk id="192"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4/09/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N°›</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4/09/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N°›</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buFont typeface="Arial"/>
              <a:buChar char="•"/>
            </a:pPr>
            <a:r>
              <a:rPr lang="en-US" b="1" err="1"/>
              <a:t>Découverte</a:t>
            </a:r>
            <a:r>
              <a:rPr lang="en-US" b="1"/>
              <a:t> de service et </a:t>
            </a:r>
            <a:r>
              <a:rPr lang="en-US" b="1" err="1"/>
              <a:t>l’équilibrage</a:t>
            </a:r>
            <a:r>
              <a:rPr lang="en-US" b="1"/>
              <a:t> de charge </a:t>
            </a:r>
            <a:r>
              <a:rPr lang="en-US"/>
              <a:t>entre les </a:t>
            </a:r>
            <a:r>
              <a:rPr lang="en-US" err="1"/>
              <a:t>containeurs</a:t>
            </a:r>
            <a:endParaRPr lang="en-US" err="1">
              <a:ea typeface="Verdana"/>
              <a:cs typeface="Verdana"/>
            </a:endParaRPr>
          </a:p>
          <a:p>
            <a:pPr marL="171450" indent="-171450">
              <a:buFont typeface="Arial"/>
              <a:buChar char="•"/>
            </a:pPr>
            <a:endParaRPr lang="en-US"/>
          </a:p>
          <a:p>
            <a:pPr marL="171450" indent="-171450">
              <a:buFont typeface="Arial"/>
              <a:buChar char="•"/>
            </a:pPr>
            <a:r>
              <a:rPr lang="fr-FR" b="1"/>
              <a:t>Bin packing automatique : </a:t>
            </a:r>
            <a:r>
              <a:rPr lang="fr-FR"/>
              <a:t>planifie automatiquement les containers en fonction de leurs besoins et contraintes afin d’en maximiser l’utilisation sans sacrifier la disponibilité.</a:t>
            </a:r>
            <a:endParaRPr lang="en-US"/>
          </a:p>
          <a:p>
            <a:pPr marL="171450" indent="-171450">
              <a:buFont typeface="Arial"/>
              <a:buChar char="•"/>
            </a:pPr>
            <a:endParaRPr lang="fr-FR" b="1"/>
          </a:p>
          <a:p>
            <a:pPr marL="171450" indent="-171450">
              <a:buFont typeface="Arial"/>
              <a:buChar char="•"/>
            </a:pPr>
            <a:r>
              <a:rPr lang="fr-FR" b="1" err="1"/>
              <a:t>Rollouts</a:t>
            </a:r>
            <a:r>
              <a:rPr lang="fr-FR" b="1"/>
              <a:t> et rollbacks automatiques : </a:t>
            </a:r>
            <a:r>
              <a:rPr lang="fr-FR"/>
              <a:t>changements de configuration en monitorant en continu la santé des applications afin d’éviter les </a:t>
            </a:r>
            <a:r>
              <a:rPr lang="fr-FR" err="1"/>
              <a:t>downtimes</a:t>
            </a:r>
            <a:r>
              <a:rPr lang="fr-FR"/>
              <a:t>.</a:t>
            </a:r>
            <a:endParaRPr lang="en-US">
              <a:ea typeface="Verdana"/>
              <a:cs typeface="Verdana"/>
            </a:endParaRPr>
          </a:p>
          <a:p>
            <a:pPr marL="171450" indent="-171450">
              <a:buFont typeface="Arial"/>
              <a:buChar char="•"/>
            </a:pPr>
            <a:endParaRPr lang="fr-FR" b="1"/>
          </a:p>
          <a:p>
            <a:pPr marL="171450" indent="-171450">
              <a:buFont typeface="Arial"/>
              <a:buChar char="•"/>
            </a:pPr>
            <a:r>
              <a:rPr lang="fr-FR" b="1"/>
              <a:t>Orchestration du stockage : </a:t>
            </a:r>
            <a:r>
              <a:rPr lang="fr-FR" err="1"/>
              <a:t>Kubernetes</a:t>
            </a:r>
            <a:r>
              <a:rPr lang="fr-FR"/>
              <a:t> monte automatiquement les espaces de stockage dans les containers (Software-</a:t>
            </a:r>
            <a:r>
              <a:rPr lang="fr-FR" err="1"/>
              <a:t>Defined</a:t>
            </a:r>
            <a:r>
              <a:rPr lang="fr-FR"/>
              <a:t> Storage - SDS)</a:t>
            </a:r>
            <a:endParaRPr lang="fr-FR">
              <a:ea typeface="Verdana"/>
              <a:cs typeface="Verdana"/>
            </a:endParaRPr>
          </a:p>
          <a:p>
            <a:pPr marL="171450" indent="-171450">
              <a:buFont typeface="Arial"/>
              <a:buChar char="•"/>
            </a:pPr>
            <a:endParaRPr lang="fr-FR" b="1"/>
          </a:p>
          <a:p>
            <a:pPr marL="171450" indent="-171450">
              <a:buFont typeface="Arial"/>
              <a:buChar char="•"/>
            </a:pPr>
            <a:r>
              <a:rPr lang="fr-FR" b="1"/>
              <a:t>Topologie de service : </a:t>
            </a:r>
            <a:r>
              <a:rPr lang="fr-FR" err="1"/>
              <a:t>Kubernetes</a:t>
            </a:r>
            <a:r>
              <a:rPr lang="fr-FR"/>
              <a:t> route le trafic aux différents services selon la topologie du cluster.</a:t>
            </a:r>
            <a:endParaRPr lang="en-US">
              <a:ea typeface="Verdana"/>
              <a:cs typeface="Verdana"/>
            </a:endParaRPr>
          </a:p>
          <a:p>
            <a:pPr marL="171450" indent="-171450">
              <a:buFont typeface="Arial"/>
              <a:buChar char="•"/>
            </a:pPr>
            <a:endParaRPr lang="fr-FR" b="1"/>
          </a:p>
          <a:p>
            <a:pPr marL="171450" indent="-171450">
              <a:buFont typeface="Arial"/>
              <a:buChar char="•"/>
            </a:pPr>
            <a:r>
              <a:rPr lang="fr-FR" b="1"/>
              <a:t>Self </a:t>
            </a:r>
            <a:r>
              <a:rPr lang="fr-FR" b="1" err="1"/>
              <a:t>healing</a:t>
            </a:r>
            <a:r>
              <a:rPr lang="fr-FR" b="1"/>
              <a:t> : </a:t>
            </a:r>
            <a:r>
              <a:rPr lang="fr-FR"/>
              <a:t>remplace et replanifie automatiquement les containers en défaillance.</a:t>
            </a:r>
            <a:endParaRPr lang="en-US">
              <a:ea typeface="Verdana"/>
              <a:cs typeface="Verdana"/>
            </a:endParaRPr>
          </a:p>
          <a:p>
            <a:pPr marL="171450" indent="-171450">
              <a:buFont typeface="Arial"/>
              <a:buChar char="•"/>
            </a:pPr>
            <a:endParaRPr lang="fr-FR" b="1"/>
          </a:p>
          <a:p>
            <a:pPr marL="171450" indent="-171450">
              <a:buFont typeface="Arial"/>
              <a:buChar char="•"/>
            </a:pPr>
            <a:r>
              <a:rPr lang="fr-FR" b="1" err="1"/>
              <a:t>Scaling</a:t>
            </a:r>
            <a:r>
              <a:rPr lang="fr-FR" b="1"/>
              <a:t> horizontal : </a:t>
            </a:r>
            <a:r>
              <a:rPr lang="fr-FR"/>
              <a:t>Les applications sont </a:t>
            </a:r>
            <a:r>
              <a:rPr lang="fr-FR" err="1"/>
              <a:t>scalées</a:t>
            </a:r>
            <a:r>
              <a:rPr lang="fr-FR"/>
              <a:t> manuellement ou automatiquement selon des métriques type CPU/Mémoire</a:t>
            </a:r>
            <a:endParaRPr lang="en-US">
              <a:ea typeface="Verdana"/>
              <a:cs typeface="Verdana"/>
            </a:endParaRPr>
          </a:p>
          <a:p>
            <a:pPr marL="171450" indent="-171450">
              <a:buFont typeface="Arial"/>
              <a:buChar char="•"/>
            </a:pPr>
            <a:endParaRPr lang="fr-FR" sz="1200" b="1"/>
          </a:p>
          <a:p>
            <a:pPr marL="171450" indent="-171450">
              <a:buFont typeface="Arial"/>
              <a:buChar char="•"/>
            </a:pPr>
            <a:r>
              <a:rPr lang="fr-FR" sz="1200" b="1"/>
              <a:t>Configurations</a:t>
            </a:r>
            <a:r>
              <a:rPr lang="fr-FR" b="1"/>
              <a:t> et secrets : </a:t>
            </a:r>
            <a:r>
              <a:rPr lang="fr-FR"/>
              <a:t>gestion des secrets et des configurations des applications de manière distinct sans avoir à </a:t>
            </a:r>
            <a:r>
              <a:rPr lang="fr-FR" err="1"/>
              <a:t>rebuilder</a:t>
            </a:r>
            <a:r>
              <a:rPr lang="fr-FR"/>
              <a:t> l’image d’une application.</a:t>
            </a:r>
          </a:p>
          <a:p>
            <a:pPr marL="171450" indent="-171450">
              <a:buFont typeface="Arial"/>
              <a:buChar char="•"/>
            </a:pPr>
            <a:endParaRPr lang="fr-FR" b="1"/>
          </a:p>
          <a:p>
            <a:pPr marL="171450" indent="-171450">
              <a:buFont typeface="Arial"/>
              <a:buChar char="•"/>
            </a:pPr>
            <a:r>
              <a:rPr lang="fr-FR" b="1"/>
              <a:t>Exécution de travail en masse : </a:t>
            </a:r>
            <a:r>
              <a:rPr lang="fr-FR"/>
              <a:t>supporte l’exécution de travail en masse, les travaux de longue durée et remplace les containers en échec.</a:t>
            </a:r>
          </a:p>
          <a:p>
            <a:pPr marL="171450" indent="-171450">
              <a:buFont typeface="Arial"/>
              <a:buChar char="•"/>
            </a:pPr>
            <a:endParaRPr lang="fr-FR">
              <a:ea typeface="Verdana"/>
              <a:cs typeface="Verdana"/>
            </a:endParaRP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2305363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Google Shape;81;g97270caca6_0_1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2" name="Google Shape;82;g97270caca6_0_18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
        <p:cNvGrpSpPr/>
        <p:nvPr/>
      </p:nvGrpSpPr>
      <p:grpSpPr>
        <a:xfrm>
          <a:off x="0" y="0"/>
          <a:ext cx="0" cy="0"/>
          <a:chOff x="0" y="0"/>
          <a:chExt cx="0" cy="0"/>
        </a:xfrm>
      </p:grpSpPr>
      <p:sp>
        <p:nvSpPr>
          <p:cNvPr id="126" name="Google Shape;126;g97270caca6_1_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7" name="Google Shape;127;g97270caca6_1_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
        <p:cNvGrpSpPr/>
        <p:nvPr/>
      </p:nvGrpSpPr>
      <p:grpSpPr>
        <a:xfrm>
          <a:off x="0" y="0"/>
          <a:ext cx="0" cy="0"/>
          <a:chOff x="0" y="0"/>
          <a:chExt cx="0" cy="0"/>
        </a:xfrm>
      </p:grpSpPr>
      <p:sp>
        <p:nvSpPr>
          <p:cNvPr id="140" name="Google Shape;140;g95707bcd36_0_6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1" name="Google Shape;141;g95707bcd36_0_6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1"/>
        <p:cNvGrpSpPr/>
        <p:nvPr/>
      </p:nvGrpSpPr>
      <p:grpSpPr>
        <a:xfrm>
          <a:off x="0" y="0"/>
          <a:ext cx="0" cy="0"/>
          <a:chOff x="0" y="0"/>
          <a:chExt cx="0" cy="0"/>
        </a:xfrm>
      </p:grpSpPr>
      <p:sp>
        <p:nvSpPr>
          <p:cNvPr id="202" name="Google Shape;202;g54a210f45d_1_5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3" name="Google Shape;203;g54a210f45d_1_5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Services will solve the </a:t>
            </a:r>
            <a:r>
              <a:rPr lang="en-US" dirty="0" err="1"/>
              <a:t>ip</a:t>
            </a:r>
            <a:r>
              <a:rPr lang="en-US" dirty="0"/>
              <a:t> churn problem, and will provide load balancing as well!</a:t>
            </a:r>
          </a:p>
          <a:p>
            <a:pPr marL="0" lvl="0" indent="0" algn="l" rtl="0">
              <a:spcBef>
                <a:spcPts val="0"/>
              </a:spcBef>
              <a:spcAft>
                <a:spcPts val="0"/>
              </a:spcAft>
              <a:buNone/>
            </a:pPr>
            <a:r>
              <a:rPr lang="en-US" dirty="0"/>
              <a:t>Service is an abstraction that defines a logical set of pods</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900" b="0" i="0" kern="1200" dirty="0">
                <a:solidFill>
                  <a:schemeClr val="tx1"/>
                </a:solidFill>
                <a:effectLst/>
                <a:latin typeface="+mn-lt"/>
                <a:ea typeface="+mn-ea"/>
                <a:cs typeface="+mn-cs"/>
              </a:rPr>
              <a:t>Les services résoudront le problème du </a:t>
            </a:r>
            <a:r>
              <a:rPr lang="fr-FR" sz="900" b="0" i="0" kern="1200" dirty="0" err="1">
                <a:solidFill>
                  <a:schemeClr val="tx1"/>
                </a:solidFill>
                <a:effectLst/>
                <a:latin typeface="+mn-lt"/>
                <a:ea typeface="+mn-ea"/>
                <a:cs typeface="+mn-cs"/>
              </a:rPr>
              <a:t>churn</a:t>
            </a:r>
            <a:r>
              <a:rPr lang="fr-FR" sz="900" b="0" i="0" kern="1200" dirty="0">
                <a:solidFill>
                  <a:schemeClr val="tx1"/>
                </a:solidFill>
                <a:effectLst/>
                <a:latin typeface="+mn-lt"/>
                <a:ea typeface="+mn-ea"/>
                <a:cs typeface="+mn-cs"/>
              </a:rPr>
              <a:t> IP et fourniront également un équilibrage de charge!</a:t>
            </a:r>
            <a:endParaRPr lang="fr-FR"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35</a:t>
            </a:fld>
            <a:endParaRPr lang="pt-BR"/>
          </a:p>
        </p:txBody>
      </p:sp>
    </p:spTree>
    <p:extLst>
      <p:ext uri="{BB962C8B-B14F-4D97-AF65-F5344CB8AC3E}">
        <p14:creationId xmlns:p14="http://schemas.microsoft.com/office/powerpoint/2010/main" val="35096419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11"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735" name="think-cell Slide" r:id="rId4" imgW="270" imgH="270" progId="TCLayout.ActiveDocument.1">
                  <p:embed/>
                </p:oleObj>
              </mc:Choice>
              <mc:Fallback>
                <p:oleObj name="think-cell Slide" r:id="rId4" imgW="270" imgH="27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759"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a:t>Click to insert section title</a:t>
            </a:r>
            <a:endParaRPr lang="pt-PT"/>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78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27454716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Vide" type="blank">
  <p:cSld name="Vide">
    <p:spTree>
      <p:nvGrpSpPr>
        <p:cNvPr id="1" name="Shape 11"/>
        <p:cNvGrpSpPr/>
        <p:nvPr/>
      </p:nvGrpSpPr>
      <p:grpSpPr>
        <a:xfrm>
          <a:off x="0" y="0"/>
          <a:ext cx="0" cy="0"/>
          <a:chOff x="0" y="0"/>
          <a:chExt cx="0" cy="0"/>
        </a:xfrm>
      </p:grpSpPr>
      <p:sp>
        <p:nvSpPr>
          <p:cNvPr id="12" name="Google Shape;12;p2"/>
          <p:cNvSpPr txBox="1">
            <a:spLocks noGrp="1"/>
          </p:cNvSpPr>
          <p:nvPr>
            <p:ph type="dt" idx="10"/>
          </p:nvPr>
        </p:nvSpPr>
        <p:spPr>
          <a:xfrm>
            <a:off x="609600" y="6356351"/>
            <a:ext cx="2844800" cy="36520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600" b="0" i="1" u="none" strike="noStrike" cap="none">
                <a:solidFill>
                  <a:srgbClr val="888888"/>
                </a:solidFill>
                <a:latin typeface="Open Sans"/>
                <a:ea typeface="Open Sans"/>
                <a:cs typeface="Open Sans"/>
                <a:sym typeface="Open Sans"/>
              </a:defRPr>
            </a:lvl1pPr>
            <a:lvl2pPr marR="0" lvl="1"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9pPr>
          </a:lstStyle>
          <a:p>
            <a:endParaRPr/>
          </a:p>
        </p:txBody>
      </p:sp>
      <p:sp>
        <p:nvSpPr>
          <p:cNvPr id="13" name="Google Shape;13;p2"/>
          <p:cNvSpPr txBox="1">
            <a:spLocks noGrp="1"/>
          </p:cNvSpPr>
          <p:nvPr>
            <p:ph type="ftr" idx="11"/>
          </p:nvPr>
        </p:nvSpPr>
        <p:spPr>
          <a:xfrm>
            <a:off x="4165600" y="6356351"/>
            <a:ext cx="3860800" cy="365200"/>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600" b="0" i="1" u="none" strike="noStrike" cap="none">
                <a:solidFill>
                  <a:srgbClr val="888888"/>
                </a:solidFill>
                <a:latin typeface="Open Sans"/>
                <a:ea typeface="Open Sans"/>
                <a:cs typeface="Open Sans"/>
                <a:sym typeface="Open Sans"/>
              </a:defRPr>
            </a:lvl1pPr>
            <a:lvl2pPr marR="0" lvl="1"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9pPr>
          </a:lstStyle>
          <a:p>
            <a:endParaRPr/>
          </a:p>
        </p:txBody>
      </p:sp>
      <p:sp>
        <p:nvSpPr>
          <p:cNvPr id="14" name="Google Shape;14;p2"/>
          <p:cNvSpPr txBox="1">
            <a:spLocks noGrp="1"/>
          </p:cNvSpPr>
          <p:nvPr>
            <p:ph type="sldNum" idx="12"/>
          </p:nvPr>
        </p:nvSpPr>
        <p:spPr>
          <a:xfrm>
            <a:off x="8737600" y="6356351"/>
            <a:ext cx="2844800" cy="36520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600" b="0" i="1" u="none" strike="noStrike" cap="none">
                <a:solidFill>
                  <a:srgbClr val="888888"/>
                </a:solidFill>
                <a:latin typeface="Open Sans"/>
                <a:ea typeface="Open Sans"/>
                <a:cs typeface="Open Sans"/>
                <a:sym typeface="Open Sans"/>
              </a:defRPr>
            </a:lvl1pPr>
            <a:lvl2pPr marL="0" marR="0" lvl="1" indent="0" algn="r" rtl="0">
              <a:spcBef>
                <a:spcPts val="0"/>
              </a:spcBef>
              <a:buNone/>
              <a:defRPr sz="1600" b="0" i="1" u="none" strike="noStrike" cap="none">
                <a:solidFill>
                  <a:srgbClr val="888888"/>
                </a:solidFill>
                <a:latin typeface="Open Sans"/>
                <a:ea typeface="Open Sans"/>
                <a:cs typeface="Open Sans"/>
                <a:sym typeface="Open Sans"/>
              </a:defRPr>
            </a:lvl2pPr>
            <a:lvl3pPr marL="0" marR="0" lvl="2" indent="0" algn="r" rtl="0">
              <a:spcBef>
                <a:spcPts val="0"/>
              </a:spcBef>
              <a:buNone/>
              <a:defRPr sz="1600" b="0" i="1" u="none" strike="noStrike" cap="none">
                <a:solidFill>
                  <a:srgbClr val="888888"/>
                </a:solidFill>
                <a:latin typeface="Open Sans"/>
                <a:ea typeface="Open Sans"/>
                <a:cs typeface="Open Sans"/>
                <a:sym typeface="Open Sans"/>
              </a:defRPr>
            </a:lvl3pPr>
            <a:lvl4pPr marL="0" marR="0" lvl="3" indent="0" algn="r" rtl="0">
              <a:spcBef>
                <a:spcPts val="0"/>
              </a:spcBef>
              <a:buNone/>
              <a:defRPr sz="1600" b="0" i="1" u="none" strike="noStrike" cap="none">
                <a:solidFill>
                  <a:srgbClr val="888888"/>
                </a:solidFill>
                <a:latin typeface="Open Sans"/>
                <a:ea typeface="Open Sans"/>
                <a:cs typeface="Open Sans"/>
                <a:sym typeface="Open Sans"/>
              </a:defRPr>
            </a:lvl4pPr>
            <a:lvl5pPr marL="0" marR="0" lvl="4" indent="0" algn="r" rtl="0">
              <a:spcBef>
                <a:spcPts val="0"/>
              </a:spcBef>
              <a:buNone/>
              <a:defRPr sz="1600" b="0" i="1" u="none" strike="noStrike" cap="none">
                <a:solidFill>
                  <a:srgbClr val="888888"/>
                </a:solidFill>
                <a:latin typeface="Open Sans"/>
                <a:ea typeface="Open Sans"/>
                <a:cs typeface="Open Sans"/>
                <a:sym typeface="Open Sans"/>
              </a:defRPr>
            </a:lvl5pPr>
            <a:lvl6pPr marL="0" marR="0" lvl="5" indent="0" algn="r" rtl="0">
              <a:spcBef>
                <a:spcPts val="0"/>
              </a:spcBef>
              <a:buNone/>
              <a:defRPr sz="1600" b="0" i="1" u="none" strike="noStrike" cap="none">
                <a:solidFill>
                  <a:srgbClr val="888888"/>
                </a:solidFill>
                <a:latin typeface="Open Sans"/>
                <a:ea typeface="Open Sans"/>
                <a:cs typeface="Open Sans"/>
                <a:sym typeface="Open Sans"/>
              </a:defRPr>
            </a:lvl6pPr>
            <a:lvl7pPr marL="0" marR="0" lvl="6" indent="0" algn="r" rtl="0">
              <a:spcBef>
                <a:spcPts val="0"/>
              </a:spcBef>
              <a:buNone/>
              <a:defRPr sz="1600" b="0" i="1" u="none" strike="noStrike" cap="none">
                <a:solidFill>
                  <a:srgbClr val="888888"/>
                </a:solidFill>
                <a:latin typeface="Open Sans"/>
                <a:ea typeface="Open Sans"/>
                <a:cs typeface="Open Sans"/>
                <a:sym typeface="Open Sans"/>
              </a:defRPr>
            </a:lvl7pPr>
            <a:lvl8pPr marL="0" marR="0" lvl="7" indent="0" algn="r" rtl="0">
              <a:spcBef>
                <a:spcPts val="0"/>
              </a:spcBef>
              <a:buNone/>
              <a:defRPr sz="1600" b="0" i="1" u="none" strike="noStrike" cap="none">
                <a:solidFill>
                  <a:srgbClr val="888888"/>
                </a:solidFill>
                <a:latin typeface="Open Sans"/>
                <a:ea typeface="Open Sans"/>
                <a:cs typeface="Open Sans"/>
                <a:sym typeface="Open Sans"/>
              </a:defRPr>
            </a:lvl8pPr>
            <a:lvl9pPr marL="0" marR="0" lvl="8" indent="0" algn="r" rtl="0">
              <a:spcBef>
                <a:spcPts val="0"/>
              </a:spcBef>
              <a:buNone/>
              <a:defRPr sz="1600" b="0" i="1" u="none" strike="noStrike" cap="none">
                <a:solidFill>
                  <a:srgbClr val="888888"/>
                </a:solidFill>
                <a:latin typeface="Open Sans"/>
                <a:ea typeface="Open Sans"/>
                <a:cs typeface="Open Sans"/>
                <a:sym typeface="Open Sans"/>
              </a:defRPr>
            </a:lvl9pPr>
          </a:lstStyle>
          <a:p>
            <a:fld id="{00000000-1234-1234-1234-123412341234}" type="slidenum">
              <a:rPr lang="fr-FR" smtClean="0"/>
              <a:pPr/>
              <a:t>‹N°›</a:t>
            </a:fld>
            <a:endParaRPr lang="fr-FR"/>
          </a:p>
        </p:txBody>
      </p:sp>
      <p:grpSp>
        <p:nvGrpSpPr>
          <p:cNvPr id="15" name="Google Shape;15;p2"/>
          <p:cNvGrpSpPr/>
          <p:nvPr/>
        </p:nvGrpSpPr>
        <p:grpSpPr>
          <a:xfrm>
            <a:off x="0" y="2291"/>
            <a:ext cx="12192000" cy="6853419"/>
            <a:chOff x="-104775" y="-156032"/>
            <a:chExt cx="9144000" cy="5140064"/>
          </a:xfrm>
        </p:grpSpPr>
        <p:pic>
          <p:nvPicPr>
            <p:cNvPr id="16" name="Google Shape;16;p2"/>
            <p:cNvPicPr preferRelativeResize="0"/>
            <p:nvPr/>
          </p:nvPicPr>
          <p:blipFill rotWithShape="1">
            <a:blip r:embed="rId2">
              <a:alphaModFix/>
            </a:blip>
            <a:srcRect/>
            <a:stretch/>
          </p:blipFill>
          <p:spPr>
            <a:xfrm>
              <a:off x="-104775" y="-156032"/>
              <a:ext cx="9144000" cy="5140064"/>
            </a:xfrm>
            <a:prstGeom prst="rect">
              <a:avLst/>
            </a:prstGeom>
            <a:noFill/>
            <a:ln>
              <a:noFill/>
            </a:ln>
          </p:spPr>
        </p:pic>
        <p:pic>
          <p:nvPicPr>
            <p:cNvPr id="17" name="Google Shape;17;p2" descr="Logo_C_Blanc.png"/>
            <p:cNvPicPr preferRelativeResize="0"/>
            <p:nvPr/>
          </p:nvPicPr>
          <p:blipFill rotWithShape="1">
            <a:blip r:embed="rId3">
              <a:alphaModFix/>
            </a:blip>
            <a:srcRect/>
            <a:stretch/>
          </p:blipFill>
          <p:spPr>
            <a:xfrm>
              <a:off x="161917" y="234226"/>
              <a:ext cx="688054" cy="540752"/>
            </a:xfrm>
            <a:prstGeom prst="rect">
              <a:avLst/>
            </a:prstGeom>
            <a:noFill/>
            <a:ln>
              <a:noFill/>
            </a:ln>
          </p:spPr>
        </p:pic>
      </p:grpSp>
    </p:spTree>
    <p:extLst>
      <p:ext uri="{BB962C8B-B14F-4D97-AF65-F5344CB8AC3E}">
        <p14:creationId xmlns:p14="http://schemas.microsoft.com/office/powerpoint/2010/main" val="37701730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83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85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879"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903"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A557B70-54B8-484D-B6D8-1BF317EC3456}"/>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4AA677EA-E168-445C-98E2-8212C0043D5D}"/>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09BF426A-20C5-4380-80D1-B832187B3F52}"/>
              </a:ext>
            </a:extLst>
          </p:cNvPr>
          <p:cNvSpPr>
            <a:spLocks noGrp="1"/>
          </p:cNvSpPr>
          <p:nvPr>
            <p:ph type="dt" sz="half" idx="10"/>
          </p:nvPr>
        </p:nvSpPr>
        <p:spPr/>
        <p:txBody>
          <a:bodyPr/>
          <a:lstStyle/>
          <a:p>
            <a:fld id="{B61BEF0D-F0BB-DE4B-95CE-6DB70DBA9567}" type="datetimeFigureOut">
              <a:rPr lang="en-US" smtClean="0"/>
              <a:pPr/>
              <a:t>9/24/2020</a:t>
            </a:fld>
            <a:endParaRPr lang="en-US"/>
          </a:p>
        </p:txBody>
      </p:sp>
      <p:sp>
        <p:nvSpPr>
          <p:cNvPr id="5" name="Espace réservé du pied de page 4">
            <a:extLst>
              <a:ext uri="{FF2B5EF4-FFF2-40B4-BE49-F238E27FC236}">
                <a16:creationId xmlns:a16="http://schemas.microsoft.com/office/drawing/2014/main" id="{9072C4AB-B47E-41FC-8F61-3C0BDA356FD4}"/>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58672C4C-C840-4029-A6E7-7B3E17D62678}"/>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fr-FR" smtClean="0"/>
              <a:pPr marL="0" lvl="0" indent="0" algn="r" rtl="0">
                <a:spcBef>
                  <a:spcPts val="0"/>
                </a:spcBef>
                <a:spcAft>
                  <a:spcPts val="0"/>
                </a:spcAft>
                <a:buNone/>
              </a:pPr>
              <a:t>‹N°›</a:t>
            </a:fld>
            <a:endParaRPr lang="fr-FR"/>
          </a:p>
        </p:txBody>
      </p:sp>
    </p:spTree>
    <p:extLst>
      <p:ext uri="{BB962C8B-B14F-4D97-AF65-F5344CB8AC3E}">
        <p14:creationId xmlns:p14="http://schemas.microsoft.com/office/powerpoint/2010/main" val="4136358419"/>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AB2D48D-2B52-4B6C-8207-C4D6BC856EAC}"/>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EC0B9BFA-415F-4E8C-B375-E8EB5DFCEEB4}"/>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905BFD15-A844-4631-ACB9-8B89805F3E49}"/>
              </a:ext>
            </a:extLst>
          </p:cNvPr>
          <p:cNvSpPr>
            <a:spLocks noGrp="1"/>
          </p:cNvSpPr>
          <p:nvPr>
            <p:ph type="dt" sz="half" idx="10"/>
          </p:nvPr>
        </p:nvSpPr>
        <p:spPr/>
        <p:txBody>
          <a:bodyPr/>
          <a:lstStyle/>
          <a:p>
            <a:fld id="{B61BEF0D-F0BB-DE4B-95CE-6DB70DBA9567}" type="datetimeFigureOut">
              <a:rPr lang="en-US" smtClean="0"/>
              <a:pPr/>
              <a:t>9/24/2020</a:t>
            </a:fld>
            <a:endParaRPr lang="en-US"/>
          </a:p>
        </p:txBody>
      </p:sp>
      <p:sp>
        <p:nvSpPr>
          <p:cNvPr id="5" name="Espace réservé du pied de page 4">
            <a:extLst>
              <a:ext uri="{FF2B5EF4-FFF2-40B4-BE49-F238E27FC236}">
                <a16:creationId xmlns:a16="http://schemas.microsoft.com/office/drawing/2014/main" id="{615A833A-938E-43DA-9627-802A914E59A5}"/>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0C072175-6EEE-435B-A3CD-123A151A8DC9}"/>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fr-FR" smtClean="0"/>
              <a:pPr marL="0" lvl="0" indent="0" algn="r" rtl="0">
                <a:spcBef>
                  <a:spcPts val="0"/>
                </a:spcBef>
                <a:spcAft>
                  <a:spcPts val="0"/>
                </a:spcAft>
                <a:buNone/>
              </a:pPr>
              <a:t>‹N°›</a:t>
            </a:fld>
            <a:endParaRPr lang="fr-FR"/>
          </a:p>
        </p:txBody>
      </p:sp>
    </p:spTree>
    <p:extLst>
      <p:ext uri="{BB962C8B-B14F-4D97-AF65-F5344CB8AC3E}">
        <p14:creationId xmlns:p14="http://schemas.microsoft.com/office/powerpoint/2010/main" val="2470466143"/>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11DCDD7-9A7A-4111-B57C-1EC4AC2BAB7A}"/>
              </a:ext>
            </a:extLst>
          </p:cNvPr>
          <p:cNvSpPr>
            <a:spLocks noGrp="1"/>
          </p:cNvSpPr>
          <p:nvPr>
            <p:ph type="title"/>
          </p:nvPr>
        </p:nvSpPr>
        <p:spPr>
          <a:xfrm>
            <a:off x="831851" y="1709740"/>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A3C373C0-7091-4CEF-9764-6A005DC9C68A}"/>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136C08F0-6C58-47C2-B10D-D2255C950E9B}"/>
              </a:ext>
            </a:extLst>
          </p:cNvPr>
          <p:cNvSpPr>
            <a:spLocks noGrp="1"/>
          </p:cNvSpPr>
          <p:nvPr>
            <p:ph type="dt" sz="half" idx="10"/>
          </p:nvPr>
        </p:nvSpPr>
        <p:spPr/>
        <p:txBody>
          <a:bodyPr/>
          <a:lstStyle/>
          <a:p>
            <a:fld id="{B61BEF0D-F0BB-DE4B-95CE-6DB70DBA9567}" type="datetimeFigureOut">
              <a:rPr lang="en-US" smtClean="0"/>
              <a:pPr/>
              <a:t>9/24/2020</a:t>
            </a:fld>
            <a:endParaRPr lang="en-US"/>
          </a:p>
        </p:txBody>
      </p:sp>
      <p:sp>
        <p:nvSpPr>
          <p:cNvPr id="5" name="Espace réservé du pied de page 4">
            <a:extLst>
              <a:ext uri="{FF2B5EF4-FFF2-40B4-BE49-F238E27FC236}">
                <a16:creationId xmlns:a16="http://schemas.microsoft.com/office/drawing/2014/main" id="{FE8538CD-0B1A-4433-AFD7-8F6AFBBCA4C9}"/>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BF76A601-AF52-497F-97D3-A111E74A459A}"/>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fr-FR" smtClean="0"/>
              <a:pPr marL="0" lvl="0" indent="0" algn="r" rtl="0">
                <a:spcBef>
                  <a:spcPts val="0"/>
                </a:spcBef>
                <a:spcAft>
                  <a:spcPts val="0"/>
                </a:spcAft>
                <a:buNone/>
              </a:pPr>
              <a:t>‹N°›</a:t>
            </a:fld>
            <a:endParaRPr lang="fr-FR"/>
          </a:p>
        </p:txBody>
      </p:sp>
    </p:spTree>
    <p:extLst>
      <p:ext uri="{BB962C8B-B14F-4D97-AF65-F5344CB8AC3E}">
        <p14:creationId xmlns:p14="http://schemas.microsoft.com/office/powerpoint/2010/main" val="492852495"/>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7EC64DE-5793-40A9-B775-14DF042230AC}"/>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DEA466F9-D8A0-446F-AFEB-4721C825BCC1}"/>
              </a:ext>
            </a:extLst>
          </p:cNvPr>
          <p:cNvSpPr>
            <a:spLocks noGrp="1"/>
          </p:cNvSpPr>
          <p:nvPr>
            <p:ph sz="half" idx="1"/>
          </p:nvPr>
        </p:nvSpPr>
        <p:spPr>
          <a:xfrm>
            <a:off x="838200" y="1825625"/>
            <a:ext cx="5181600" cy="4351339"/>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086CD46D-5D46-4A32-AAD3-EBED03098E2B}"/>
              </a:ext>
            </a:extLst>
          </p:cNvPr>
          <p:cNvSpPr>
            <a:spLocks noGrp="1"/>
          </p:cNvSpPr>
          <p:nvPr>
            <p:ph sz="half" idx="2"/>
          </p:nvPr>
        </p:nvSpPr>
        <p:spPr>
          <a:xfrm>
            <a:off x="6172200" y="1825625"/>
            <a:ext cx="5181600" cy="4351339"/>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7BA2F52C-6C2A-43D0-9892-FB46D0B12EFD}"/>
              </a:ext>
            </a:extLst>
          </p:cNvPr>
          <p:cNvSpPr>
            <a:spLocks noGrp="1"/>
          </p:cNvSpPr>
          <p:nvPr>
            <p:ph type="dt" sz="half" idx="10"/>
          </p:nvPr>
        </p:nvSpPr>
        <p:spPr/>
        <p:txBody>
          <a:bodyPr/>
          <a:lstStyle/>
          <a:p>
            <a:fld id="{B61BEF0D-F0BB-DE4B-95CE-6DB70DBA9567}" type="datetimeFigureOut">
              <a:rPr lang="en-US" smtClean="0"/>
              <a:pPr/>
              <a:t>9/24/2020</a:t>
            </a:fld>
            <a:endParaRPr lang="en-US"/>
          </a:p>
        </p:txBody>
      </p:sp>
      <p:sp>
        <p:nvSpPr>
          <p:cNvPr id="6" name="Espace réservé du pied de page 5">
            <a:extLst>
              <a:ext uri="{FF2B5EF4-FFF2-40B4-BE49-F238E27FC236}">
                <a16:creationId xmlns:a16="http://schemas.microsoft.com/office/drawing/2014/main" id="{58C30D19-F033-471D-A77F-E0AAD1EDEC7B}"/>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589AF7D4-D1FD-4BC6-BC65-0E249CEF48A7}"/>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fr-FR" smtClean="0"/>
              <a:pPr marL="0" lvl="0" indent="0" algn="r" rtl="0">
                <a:spcBef>
                  <a:spcPts val="0"/>
                </a:spcBef>
                <a:spcAft>
                  <a:spcPts val="0"/>
                </a:spcAft>
                <a:buNone/>
              </a:pPr>
              <a:t>‹N°›</a:t>
            </a:fld>
            <a:endParaRPr lang="fr-FR"/>
          </a:p>
        </p:txBody>
      </p:sp>
    </p:spTree>
    <p:extLst>
      <p:ext uri="{BB962C8B-B14F-4D97-AF65-F5344CB8AC3E}">
        <p14:creationId xmlns:p14="http://schemas.microsoft.com/office/powerpoint/2010/main" val="2780650734"/>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E35EE05-2BE7-4FD7-8246-21F2DD05B059}"/>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56EE6A32-6B50-4785-A0AD-E8EC7227B0A1}"/>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1621AEF6-245F-4966-9305-25FA027DB3F8}"/>
              </a:ext>
            </a:extLst>
          </p:cNvPr>
          <p:cNvSpPr>
            <a:spLocks noGrp="1"/>
          </p:cNvSpPr>
          <p:nvPr>
            <p:ph sz="half" idx="2"/>
          </p:nvPr>
        </p:nvSpPr>
        <p:spPr>
          <a:xfrm>
            <a:off x="839789"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6E6059C9-3F08-42DE-B9C0-4760E0505524}"/>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CFF54AD3-CC56-43A5-B2F2-E3F0C7A8938E}"/>
              </a:ext>
            </a:extLst>
          </p:cNvPr>
          <p:cNvSpPr>
            <a:spLocks noGrp="1"/>
          </p:cNvSpPr>
          <p:nvPr>
            <p:ph sz="quarter" idx="4"/>
          </p:nvPr>
        </p:nvSpPr>
        <p:spPr>
          <a:xfrm>
            <a:off x="6172201"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E131F592-AB44-4793-95B9-F26919D9FD31}"/>
              </a:ext>
            </a:extLst>
          </p:cNvPr>
          <p:cNvSpPr>
            <a:spLocks noGrp="1"/>
          </p:cNvSpPr>
          <p:nvPr>
            <p:ph type="dt" sz="half" idx="10"/>
          </p:nvPr>
        </p:nvSpPr>
        <p:spPr/>
        <p:txBody>
          <a:bodyPr/>
          <a:lstStyle/>
          <a:p>
            <a:fld id="{B61BEF0D-F0BB-DE4B-95CE-6DB70DBA9567}" type="datetimeFigureOut">
              <a:rPr lang="en-US" smtClean="0"/>
              <a:pPr/>
              <a:t>9/24/2020</a:t>
            </a:fld>
            <a:endParaRPr lang="en-US"/>
          </a:p>
        </p:txBody>
      </p:sp>
      <p:sp>
        <p:nvSpPr>
          <p:cNvPr id="8" name="Espace réservé du pied de page 7">
            <a:extLst>
              <a:ext uri="{FF2B5EF4-FFF2-40B4-BE49-F238E27FC236}">
                <a16:creationId xmlns:a16="http://schemas.microsoft.com/office/drawing/2014/main" id="{3C14C2A4-49B1-4122-86B3-599A8B6D82E7}"/>
              </a:ext>
            </a:extLst>
          </p:cNvPr>
          <p:cNvSpPr>
            <a:spLocks noGrp="1"/>
          </p:cNvSpPr>
          <p:nvPr>
            <p:ph type="ftr" sz="quarter" idx="11"/>
          </p:nvPr>
        </p:nvSpPr>
        <p:spPr/>
        <p:txBody>
          <a:bodyPr/>
          <a:lstStyle/>
          <a:p>
            <a:endParaRPr lang="en-US"/>
          </a:p>
        </p:txBody>
      </p:sp>
      <p:sp>
        <p:nvSpPr>
          <p:cNvPr id="9" name="Espace réservé du numéro de diapositive 8">
            <a:extLst>
              <a:ext uri="{FF2B5EF4-FFF2-40B4-BE49-F238E27FC236}">
                <a16:creationId xmlns:a16="http://schemas.microsoft.com/office/drawing/2014/main" id="{77E576E4-1069-40EF-B3BE-CED06493A3C2}"/>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fr-FR" smtClean="0"/>
              <a:pPr marL="0" lvl="0" indent="0" algn="r" rtl="0">
                <a:spcBef>
                  <a:spcPts val="0"/>
                </a:spcBef>
                <a:spcAft>
                  <a:spcPts val="0"/>
                </a:spcAft>
                <a:buNone/>
              </a:pPr>
              <a:t>‹N°›</a:t>
            </a:fld>
            <a:endParaRPr lang="fr-FR"/>
          </a:p>
        </p:txBody>
      </p:sp>
    </p:spTree>
    <p:extLst>
      <p:ext uri="{BB962C8B-B14F-4D97-AF65-F5344CB8AC3E}">
        <p14:creationId xmlns:p14="http://schemas.microsoft.com/office/powerpoint/2010/main" val="517233175"/>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D626DCA-426F-4133-A3AE-303EC8ECA1AC}"/>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253A17D5-7863-41DE-8E54-85731B177A87}"/>
              </a:ext>
            </a:extLst>
          </p:cNvPr>
          <p:cNvSpPr>
            <a:spLocks noGrp="1"/>
          </p:cNvSpPr>
          <p:nvPr>
            <p:ph type="dt" sz="half" idx="10"/>
          </p:nvPr>
        </p:nvSpPr>
        <p:spPr/>
        <p:txBody>
          <a:bodyPr/>
          <a:lstStyle/>
          <a:p>
            <a:fld id="{B61BEF0D-F0BB-DE4B-95CE-6DB70DBA9567}" type="datetimeFigureOut">
              <a:rPr lang="en-US" smtClean="0"/>
              <a:pPr/>
              <a:t>9/24/2020</a:t>
            </a:fld>
            <a:endParaRPr lang="en-US"/>
          </a:p>
        </p:txBody>
      </p:sp>
      <p:sp>
        <p:nvSpPr>
          <p:cNvPr id="4" name="Espace réservé du pied de page 3">
            <a:extLst>
              <a:ext uri="{FF2B5EF4-FFF2-40B4-BE49-F238E27FC236}">
                <a16:creationId xmlns:a16="http://schemas.microsoft.com/office/drawing/2014/main" id="{F2ECD516-7236-4B1B-AE0A-07195BE1803E}"/>
              </a:ext>
            </a:extLst>
          </p:cNvPr>
          <p:cNvSpPr>
            <a:spLocks noGrp="1"/>
          </p:cNvSpPr>
          <p:nvPr>
            <p:ph type="ftr" sz="quarter" idx="11"/>
          </p:nvPr>
        </p:nvSpPr>
        <p:spPr/>
        <p:txBody>
          <a:bodyPr/>
          <a:lstStyle/>
          <a:p>
            <a:endParaRPr lang="en-US"/>
          </a:p>
        </p:txBody>
      </p:sp>
      <p:sp>
        <p:nvSpPr>
          <p:cNvPr id="5" name="Espace réservé du numéro de diapositive 4">
            <a:extLst>
              <a:ext uri="{FF2B5EF4-FFF2-40B4-BE49-F238E27FC236}">
                <a16:creationId xmlns:a16="http://schemas.microsoft.com/office/drawing/2014/main" id="{36638E2D-75A9-41E3-ADA2-5BD7B646FFB9}"/>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fr-FR" smtClean="0"/>
              <a:pPr marL="0" lvl="0" indent="0" algn="r" rtl="0">
                <a:spcBef>
                  <a:spcPts val="0"/>
                </a:spcBef>
                <a:spcAft>
                  <a:spcPts val="0"/>
                </a:spcAft>
                <a:buNone/>
              </a:pPr>
              <a:t>‹N°›</a:t>
            </a:fld>
            <a:endParaRPr lang="fr-FR"/>
          </a:p>
        </p:txBody>
      </p:sp>
    </p:spTree>
    <p:extLst>
      <p:ext uri="{BB962C8B-B14F-4D97-AF65-F5344CB8AC3E}">
        <p14:creationId xmlns:p14="http://schemas.microsoft.com/office/powerpoint/2010/main" val="3079232239"/>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A4778876-2D34-4860-A300-D7D094312CFB}"/>
              </a:ext>
            </a:extLst>
          </p:cNvPr>
          <p:cNvSpPr>
            <a:spLocks noGrp="1"/>
          </p:cNvSpPr>
          <p:nvPr>
            <p:ph type="dt" sz="half" idx="10"/>
          </p:nvPr>
        </p:nvSpPr>
        <p:spPr/>
        <p:txBody>
          <a:bodyPr/>
          <a:lstStyle/>
          <a:p>
            <a:fld id="{B61BEF0D-F0BB-DE4B-95CE-6DB70DBA9567}" type="datetimeFigureOut">
              <a:rPr lang="en-US" smtClean="0"/>
              <a:pPr/>
              <a:t>9/24/2020</a:t>
            </a:fld>
            <a:endParaRPr lang="en-US"/>
          </a:p>
        </p:txBody>
      </p:sp>
      <p:sp>
        <p:nvSpPr>
          <p:cNvPr id="3" name="Espace réservé du pied de page 2">
            <a:extLst>
              <a:ext uri="{FF2B5EF4-FFF2-40B4-BE49-F238E27FC236}">
                <a16:creationId xmlns:a16="http://schemas.microsoft.com/office/drawing/2014/main" id="{BC00859D-3871-4D78-BE0E-12FDD3FDA313}"/>
              </a:ext>
            </a:extLst>
          </p:cNvPr>
          <p:cNvSpPr>
            <a:spLocks noGrp="1"/>
          </p:cNvSpPr>
          <p:nvPr>
            <p:ph type="ftr" sz="quarter" idx="11"/>
          </p:nvPr>
        </p:nvSpPr>
        <p:spPr/>
        <p:txBody>
          <a:bodyPr/>
          <a:lstStyle/>
          <a:p>
            <a:endParaRPr lang="en-US"/>
          </a:p>
        </p:txBody>
      </p:sp>
      <p:sp>
        <p:nvSpPr>
          <p:cNvPr id="4" name="Espace réservé du numéro de diapositive 3">
            <a:extLst>
              <a:ext uri="{FF2B5EF4-FFF2-40B4-BE49-F238E27FC236}">
                <a16:creationId xmlns:a16="http://schemas.microsoft.com/office/drawing/2014/main" id="{F6899A92-A72D-48E4-BA3E-136799D41168}"/>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fr-FR" smtClean="0"/>
              <a:pPr marL="0" lvl="0" indent="0" algn="r" rtl="0">
                <a:spcBef>
                  <a:spcPts val="0"/>
                </a:spcBef>
                <a:spcAft>
                  <a:spcPts val="0"/>
                </a:spcAft>
                <a:buNone/>
              </a:pPr>
              <a:t>‹N°›</a:t>
            </a:fld>
            <a:endParaRPr lang="fr-FR"/>
          </a:p>
        </p:txBody>
      </p:sp>
    </p:spTree>
    <p:extLst>
      <p:ext uri="{BB962C8B-B14F-4D97-AF65-F5344CB8AC3E}">
        <p14:creationId xmlns:p14="http://schemas.microsoft.com/office/powerpoint/2010/main" val="455109393"/>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07E11A6-45CC-4ABD-A09B-41C9597DA1C7}"/>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41CBA091-9C14-4143-B8CA-D02568271D63}"/>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40316F19-A206-492C-9FE2-1F6C3BD3F893}"/>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206EFDD6-A500-443E-8AC0-F923F25ED2CF}"/>
              </a:ext>
            </a:extLst>
          </p:cNvPr>
          <p:cNvSpPr>
            <a:spLocks noGrp="1"/>
          </p:cNvSpPr>
          <p:nvPr>
            <p:ph type="dt" sz="half" idx="10"/>
          </p:nvPr>
        </p:nvSpPr>
        <p:spPr/>
        <p:txBody>
          <a:bodyPr/>
          <a:lstStyle/>
          <a:p>
            <a:fld id="{B61BEF0D-F0BB-DE4B-95CE-6DB70DBA9567}" type="datetimeFigureOut">
              <a:rPr lang="en-US" smtClean="0"/>
              <a:pPr/>
              <a:t>9/24/2020</a:t>
            </a:fld>
            <a:endParaRPr lang="en-US"/>
          </a:p>
        </p:txBody>
      </p:sp>
      <p:sp>
        <p:nvSpPr>
          <p:cNvPr id="6" name="Espace réservé du pied de page 5">
            <a:extLst>
              <a:ext uri="{FF2B5EF4-FFF2-40B4-BE49-F238E27FC236}">
                <a16:creationId xmlns:a16="http://schemas.microsoft.com/office/drawing/2014/main" id="{15FDCE9F-9157-400E-9128-A4E592E9F5AD}"/>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13AF2530-4EA9-4F19-8970-547727BD77AC}"/>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fr-FR" smtClean="0"/>
              <a:pPr marL="0" lvl="0" indent="0" algn="r" rtl="0">
                <a:spcBef>
                  <a:spcPts val="0"/>
                </a:spcBef>
                <a:spcAft>
                  <a:spcPts val="0"/>
                </a:spcAft>
                <a:buNone/>
              </a:pPr>
              <a:t>‹N°›</a:t>
            </a:fld>
            <a:endParaRPr lang="fr-FR"/>
          </a:p>
        </p:txBody>
      </p:sp>
    </p:spTree>
    <p:extLst>
      <p:ext uri="{BB962C8B-B14F-4D97-AF65-F5344CB8AC3E}">
        <p14:creationId xmlns:p14="http://schemas.microsoft.com/office/powerpoint/2010/main" val="228774535"/>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2ED7B8-9F7C-42E6-B011-2F7EE0FA2846}"/>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5D85E5F3-B8C6-4BE7-9D8B-5638F8A8255D}"/>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fr-FR"/>
          </a:p>
        </p:txBody>
      </p:sp>
      <p:sp>
        <p:nvSpPr>
          <p:cNvPr id="4" name="Espace réservé du texte 3">
            <a:extLst>
              <a:ext uri="{FF2B5EF4-FFF2-40B4-BE49-F238E27FC236}">
                <a16:creationId xmlns:a16="http://schemas.microsoft.com/office/drawing/2014/main" id="{ABE4C77B-494E-4FDE-8B9D-8E3E21F602EE}"/>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20DF159F-D527-411D-9C17-E473D86EA365}"/>
              </a:ext>
            </a:extLst>
          </p:cNvPr>
          <p:cNvSpPr>
            <a:spLocks noGrp="1"/>
          </p:cNvSpPr>
          <p:nvPr>
            <p:ph type="dt" sz="half" idx="10"/>
          </p:nvPr>
        </p:nvSpPr>
        <p:spPr/>
        <p:txBody>
          <a:bodyPr/>
          <a:lstStyle/>
          <a:p>
            <a:fld id="{B61BEF0D-F0BB-DE4B-95CE-6DB70DBA9567}" type="datetimeFigureOut">
              <a:rPr lang="en-US" smtClean="0"/>
              <a:pPr/>
              <a:t>9/24/2020</a:t>
            </a:fld>
            <a:endParaRPr lang="en-US"/>
          </a:p>
        </p:txBody>
      </p:sp>
      <p:sp>
        <p:nvSpPr>
          <p:cNvPr id="6" name="Espace réservé du pied de page 5">
            <a:extLst>
              <a:ext uri="{FF2B5EF4-FFF2-40B4-BE49-F238E27FC236}">
                <a16:creationId xmlns:a16="http://schemas.microsoft.com/office/drawing/2014/main" id="{16B752C7-0EA0-432D-8B2F-68F76D4E38A7}"/>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7F4F6183-52D3-4FDF-80CA-F1E20CAE79CA}"/>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fr-FR" smtClean="0"/>
              <a:pPr marL="0" lvl="0" indent="0" algn="r" rtl="0">
                <a:spcBef>
                  <a:spcPts val="0"/>
                </a:spcBef>
                <a:spcAft>
                  <a:spcPts val="0"/>
                </a:spcAft>
                <a:buNone/>
              </a:pPr>
              <a:t>‹N°›</a:t>
            </a:fld>
            <a:endParaRPr lang="fr-FR"/>
          </a:p>
        </p:txBody>
      </p:sp>
    </p:spTree>
    <p:extLst>
      <p:ext uri="{BB962C8B-B14F-4D97-AF65-F5344CB8AC3E}">
        <p14:creationId xmlns:p14="http://schemas.microsoft.com/office/powerpoint/2010/main" val="1862835570"/>
      </p:ext>
    </p:extLst>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6290AE-E1BA-4E75-ADE7-62E41CE61151}"/>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7ABDAA35-0880-4A9E-A957-5665C403603E}"/>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4269539E-16B0-4B43-A08E-04911A3C3580}"/>
              </a:ext>
            </a:extLst>
          </p:cNvPr>
          <p:cNvSpPr>
            <a:spLocks noGrp="1"/>
          </p:cNvSpPr>
          <p:nvPr>
            <p:ph type="dt" sz="half" idx="10"/>
          </p:nvPr>
        </p:nvSpPr>
        <p:spPr/>
        <p:txBody>
          <a:bodyPr/>
          <a:lstStyle/>
          <a:p>
            <a:fld id="{B61BEF0D-F0BB-DE4B-95CE-6DB70DBA9567}" type="datetimeFigureOut">
              <a:rPr lang="en-US" smtClean="0"/>
              <a:pPr/>
              <a:t>9/24/2020</a:t>
            </a:fld>
            <a:endParaRPr lang="en-US"/>
          </a:p>
        </p:txBody>
      </p:sp>
      <p:sp>
        <p:nvSpPr>
          <p:cNvPr id="5" name="Espace réservé du pied de page 4">
            <a:extLst>
              <a:ext uri="{FF2B5EF4-FFF2-40B4-BE49-F238E27FC236}">
                <a16:creationId xmlns:a16="http://schemas.microsoft.com/office/drawing/2014/main" id="{7FB2FCEB-CE2C-4F05-9341-31C0B89711D1}"/>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A0004CEF-1516-4058-B5E8-15168C5437A7}"/>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fr-FR" smtClean="0"/>
              <a:pPr marL="0" lvl="0" indent="0" algn="r" rtl="0">
                <a:spcBef>
                  <a:spcPts val="0"/>
                </a:spcBef>
                <a:spcAft>
                  <a:spcPts val="0"/>
                </a:spcAft>
                <a:buNone/>
              </a:pPr>
              <a:t>‹N°›</a:t>
            </a:fld>
            <a:endParaRPr lang="fr-FR"/>
          </a:p>
        </p:txBody>
      </p:sp>
    </p:spTree>
    <p:extLst>
      <p:ext uri="{BB962C8B-B14F-4D97-AF65-F5344CB8AC3E}">
        <p14:creationId xmlns:p14="http://schemas.microsoft.com/office/powerpoint/2010/main" val="1555273862"/>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FDA3903A-A841-4BE8-9622-080687A5E90F}"/>
              </a:ext>
            </a:extLst>
          </p:cNvPr>
          <p:cNvSpPr>
            <a:spLocks noGrp="1"/>
          </p:cNvSpPr>
          <p:nvPr>
            <p:ph type="title" orient="vert"/>
          </p:nvPr>
        </p:nvSpPr>
        <p:spPr>
          <a:xfrm>
            <a:off x="8724901" y="365126"/>
            <a:ext cx="2628900" cy="5811839"/>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412BFEB1-FCB2-4F3B-8D0B-FDADE5D847F4}"/>
              </a:ext>
            </a:extLst>
          </p:cNvPr>
          <p:cNvSpPr>
            <a:spLocks noGrp="1"/>
          </p:cNvSpPr>
          <p:nvPr>
            <p:ph type="body" orient="vert" idx="1"/>
          </p:nvPr>
        </p:nvSpPr>
        <p:spPr>
          <a:xfrm>
            <a:off x="838201" y="365126"/>
            <a:ext cx="7734300" cy="5811839"/>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02A30523-37F7-41A5-ADF1-AE058EE76992}"/>
              </a:ext>
            </a:extLst>
          </p:cNvPr>
          <p:cNvSpPr>
            <a:spLocks noGrp="1"/>
          </p:cNvSpPr>
          <p:nvPr>
            <p:ph type="dt" sz="half" idx="10"/>
          </p:nvPr>
        </p:nvSpPr>
        <p:spPr/>
        <p:txBody>
          <a:bodyPr/>
          <a:lstStyle/>
          <a:p>
            <a:fld id="{B61BEF0D-F0BB-DE4B-95CE-6DB70DBA9567}" type="datetimeFigureOut">
              <a:rPr lang="en-US" smtClean="0"/>
              <a:pPr/>
              <a:t>9/24/2020</a:t>
            </a:fld>
            <a:endParaRPr lang="en-US"/>
          </a:p>
        </p:txBody>
      </p:sp>
      <p:sp>
        <p:nvSpPr>
          <p:cNvPr id="5" name="Espace réservé du pied de page 4">
            <a:extLst>
              <a:ext uri="{FF2B5EF4-FFF2-40B4-BE49-F238E27FC236}">
                <a16:creationId xmlns:a16="http://schemas.microsoft.com/office/drawing/2014/main" id="{F0DF764C-F325-4F31-8D77-CAE9E4402EBC}"/>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30219030-DDFC-4016-AE9A-183DB03CE0C6}"/>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fr-FR" smtClean="0"/>
              <a:pPr marL="0" lvl="0" indent="0" algn="r" rtl="0">
                <a:spcBef>
                  <a:spcPts val="0"/>
                </a:spcBef>
                <a:spcAft>
                  <a:spcPts val="0"/>
                </a:spcAft>
                <a:buNone/>
              </a:pPr>
              <a:t>‹N°›</a:t>
            </a:fld>
            <a:endParaRPr lang="fr-FR"/>
          </a:p>
        </p:txBody>
      </p:sp>
    </p:spTree>
    <p:extLst>
      <p:ext uri="{BB962C8B-B14F-4D97-AF65-F5344CB8AC3E}">
        <p14:creationId xmlns:p14="http://schemas.microsoft.com/office/powerpoint/2010/main" val="3254376490"/>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7563513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fr"/>
              <a:pPr marL="0" lvl="0" indent="0" algn="r" rtl="0">
                <a:spcBef>
                  <a:spcPts val="0"/>
                </a:spcBef>
                <a:spcAft>
                  <a:spcPts val="0"/>
                </a:spcAft>
                <a:buNone/>
              </a:pPr>
              <a:t>‹N°›</a:t>
            </a:fld>
            <a:endParaRPr/>
          </a:p>
        </p:txBody>
      </p:sp>
    </p:spTree>
    <p:extLst>
      <p:ext uri="{BB962C8B-B14F-4D97-AF65-F5344CB8AC3E}">
        <p14:creationId xmlns:p14="http://schemas.microsoft.com/office/powerpoint/2010/main" val="33883324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1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63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66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Vide" type="blank">
  <p:cSld name="1_Vide">
    <p:spTree>
      <p:nvGrpSpPr>
        <p:cNvPr id="1" name="Shape 11"/>
        <p:cNvGrpSpPr/>
        <p:nvPr/>
      </p:nvGrpSpPr>
      <p:grpSpPr>
        <a:xfrm>
          <a:off x="0" y="0"/>
          <a:ext cx="0" cy="0"/>
          <a:chOff x="0" y="0"/>
          <a:chExt cx="0" cy="0"/>
        </a:xfrm>
      </p:grpSpPr>
      <p:sp>
        <p:nvSpPr>
          <p:cNvPr id="12" name="Google Shape;12;p2"/>
          <p:cNvSpPr txBox="1">
            <a:spLocks noGrp="1"/>
          </p:cNvSpPr>
          <p:nvPr>
            <p:ph type="dt" idx="10"/>
          </p:nvPr>
        </p:nvSpPr>
        <p:spPr>
          <a:xfrm>
            <a:off x="609600" y="6356351"/>
            <a:ext cx="2844800" cy="36520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600" b="0" i="1" u="none" strike="noStrike" cap="none">
                <a:solidFill>
                  <a:srgbClr val="888888"/>
                </a:solidFill>
                <a:latin typeface="Open Sans"/>
                <a:ea typeface="Open Sans"/>
                <a:cs typeface="Open Sans"/>
                <a:sym typeface="Open Sans"/>
              </a:defRPr>
            </a:lvl1pPr>
            <a:lvl2pPr marR="0" lvl="1"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9pPr>
          </a:lstStyle>
          <a:p>
            <a:endParaRPr/>
          </a:p>
        </p:txBody>
      </p:sp>
      <p:sp>
        <p:nvSpPr>
          <p:cNvPr id="13" name="Google Shape;13;p2"/>
          <p:cNvSpPr txBox="1">
            <a:spLocks noGrp="1"/>
          </p:cNvSpPr>
          <p:nvPr>
            <p:ph type="ftr" idx="11"/>
          </p:nvPr>
        </p:nvSpPr>
        <p:spPr>
          <a:xfrm>
            <a:off x="4165600" y="6356351"/>
            <a:ext cx="3860800" cy="365200"/>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600" b="0" i="1" u="none" strike="noStrike" cap="none">
                <a:solidFill>
                  <a:srgbClr val="888888"/>
                </a:solidFill>
                <a:latin typeface="Open Sans"/>
                <a:ea typeface="Open Sans"/>
                <a:cs typeface="Open Sans"/>
                <a:sym typeface="Open Sans"/>
              </a:defRPr>
            </a:lvl1pPr>
            <a:lvl2pPr marR="0" lvl="1"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9pPr>
          </a:lstStyle>
          <a:p>
            <a:endParaRPr/>
          </a:p>
        </p:txBody>
      </p:sp>
      <p:sp>
        <p:nvSpPr>
          <p:cNvPr id="14" name="Google Shape;14;p2"/>
          <p:cNvSpPr txBox="1">
            <a:spLocks noGrp="1"/>
          </p:cNvSpPr>
          <p:nvPr>
            <p:ph type="sldNum" idx="12"/>
          </p:nvPr>
        </p:nvSpPr>
        <p:spPr>
          <a:xfrm>
            <a:off x="8737600" y="6356351"/>
            <a:ext cx="2844800" cy="36520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600" b="0" i="1" u="none" strike="noStrike" cap="none">
                <a:solidFill>
                  <a:srgbClr val="888888"/>
                </a:solidFill>
                <a:latin typeface="Open Sans"/>
                <a:ea typeface="Open Sans"/>
                <a:cs typeface="Open Sans"/>
                <a:sym typeface="Open Sans"/>
              </a:defRPr>
            </a:lvl1pPr>
            <a:lvl2pPr marL="0" marR="0" lvl="1" indent="0" algn="r" rtl="0">
              <a:spcBef>
                <a:spcPts val="0"/>
              </a:spcBef>
              <a:buNone/>
              <a:defRPr sz="1600" b="0" i="1" u="none" strike="noStrike" cap="none">
                <a:solidFill>
                  <a:srgbClr val="888888"/>
                </a:solidFill>
                <a:latin typeface="Open Sans"/>
                <a:ea typeface="Open Sans"/>
                <a:cs typeface="Open Sans"/>
                <a:sym typeface="Open Sans"/>
              </a:defRPr>
            </a:lvl2pPr>
            <a:lvl3pPr marL="0" marR="0" lvl="2" indent="0" algn="r" rtl="0">
              <a:spcBef>
                <a:spcPts val="0"/>
              </a:spcBef>
              <a:buNone/>
              <a:defRPr sz="1600" b="0" i="1" u="none" strike="noStrike" cap="none">
                <a:solidFill>
                  <a:srgbClr val="888888"/>
                </a:solidFill>
                <a:latin typeface="Open Sans"/>
                <a:ea typeface="Open Sans"/>
                <a:cs typeface="Open Sans"/>
                <a:sym typeface="Open Sans"/>
              </a:defRPr>
            </a:lvl3pPr>
            <a:lvl4pPr marL="0" marR="0" lvl="3" indent="0" algn="r" rtl="0">
              <a:spcBef>
                <a:spcPts val="0"/>
              </a:spcBef>
              <a:buNone/>
              <a:defRPr sz="1600" b="0" i="1" u="none" strike="noStrike" cap="none">
                <a:solidFill>
                  <a:srgbClr val="888888"/>
                </a:solidFill>
                <a:latin typeface="Open Sans"/>
                <a:ea typeface="Open Sans"/>
                <a:cs typeface="Open Sans"/>
                <a:sym typeface="Open Sans"/>
              </a:defRPr>
            </a:lvl4pPr>
            <a:lvl5pPr marL="0" marR="0" lvl="4" indent="0" algn="r" rtl="0">
              <a:spcBef>
                <a:spcPts val="0"/>
              </a:spcBef>
              <a:buNone/>
              <a:defRPr sz="1600" b="0" i="1" u="none" strike="noStrike" cap="none">
                <a:solidFill>
                  <a:srgbClr val="888888"/>
                </a:solidFill>
                <a:latin typeface="Open Sans"/>
                <a:ea typeface="Open Sans"/>
                <a:cs typeface="Open Sans"/>
                <a:sym typeface="Open Sans"/>
              </a:defRPr>
            </a:lvl5pPr>
            <a:lvl6pPr marL="0" marR="0" lvl="5" indent="0" algn="r" rtl="0">
              <a:spcBef>
                <a:spcPts val="0"/>
              </a:spcBef>
              <a:buNone/>
              <a:defRPr sz="1600" b="0" i="1" u="none" strike="noStrike" cap="none">
                <a:solidFill>
                  <a:srgbClr val="888888"/>
                </a:solidFill>
                <a:latin typeface="Open Sans"/>
                <a:ea typeface="Open Sans"/>
                <a:cs typeface="Open Sans"/>
                <a:sym typeface="Open Sans"/>
              </a:defRPr>
            </a:lvl6pPr>
            <a:lvl7pPr marL="0" marR="0" lvl="6" indent="0" algn="r" rtl="0">
              <a:spcBef>
                <a:spcPts val="0"/>
              </a:spcBef>
              <a:buNone/>
              <a:defRPr sz="1600" b="0" i="1" u="none" strike="noStrike" cap="none">
                <a:solidFill>
                  <a:srgbClr val="888888"/>
                </a:solidFill>
                <a:latin typeface="Open Sans"/>
                <a:ea typeface="Open Sans"/>
                <a:cs typeface="Open Sans"/>
                <a:sym typeface="Open Sans"/>
              </a:defRPr>
            </a:lvl7pPr>
            <a:lvl8pPr marL="0" marR="0" lvl="7" indent="0" algn="r" rtl="0">
              <a:spcBef>
                <a:spcPts val="0"/>
              </a:spcBef>
              <a:buNone/>
              <a:defRPr sz="1600" b="0" i="1" u="none" strike="noStrike" cap="none">
                <a:solidFill>
                  <a:srgbClr val="888888"/>
                </a:solidFill>
                <a:latin typeface="Open Sans"/>
                <a:ea typeface="Open Sans"/>
                <a:cs typeface="Open Sans"/>
                <a:sym typeface="Open Sans"/>
              </a:defRPr>
            </a:lvl8pPr>
            <a:lvl9pPr marL="0" marR="0" lvl="8" indent="0" algn="r" rtl="0">
              <a:spcBef>
                <a:spcPts val="0"/>
              </a:spcBef>
              <a:buNone/>
              <a:defRPr sz="1600" b="0" i="1" u="none" strike="noStrike" cap="none">
                <a:solidFill>
                  <a:srgbClr val="888888"/>
                </a:solidFill>
                <a:latin typeface="Open Sans"/>
                <a:ea typeface="Open Sans"/>
                <a:cs typeface="Open Sans"/>
                <a:sym typeface="Open Sans"/>
              </a:defRPr>
            </a:lvl9pPr>
          </a:lstStyle>
          <a:p>
            <a:fld id="{00000000-1234-1234-1234-123412341234}" type="slidenum">
              <a:rPr lang="fr-FR" smtClean="0"/>
              <a:pPr/>
              <a:t>‹N°›</a:t>
            </a:fld>
            <a:endParaRPr lang="fr-FR"/>
          </a:p>
        </p:txBody>
      </p:sp>
      <p:grpSp>
        <p:nvGrpSpPr>
          <p:cNvPr id="15" name="Google Shape;15;p2"/>
          <p:cNvGrpSpPr/>
          <p:nvPr/>
        </p:nvGrpSpPr>
        <p:grpSpPr>
          <a:xfrm>
            <a:off x="0" y="2291"/>
            <a:ext cx="12192000" cy="6853419"/>
            <a:chOff x="-104775" y="-156032"/>
            <a:chExt cx="9144000" cy="5140064"/>
          </a:xfrm>
        </p:grpSpPr>
        <p:pic>
          <p:nvPicPr>
            <p:cNvPr id="16" name="Google Shape;16;p2"/>
            <p:cNvPicPr preferRelativeResize="0"/>
            <p:nvPr/>
          </p:nvPicPr>
          <p:blipFill rotWithShape="1">
            <a:blip r:embed="rId2">
              <a:alphaModFix/>
            </a:blip>
            <a:srcRect/>
            <a:stretch/>
          </p:blipFill>
          <p:spPr>
            <a:xfrm>
              <a:off x="-104775" y="-156032"/>
              <a:ext cx="9144000" cy="5140064"/>
            </a:xfrm>
            <a:prstGeom prst="rect">
              <a:avLst/>
            </a:prstGeom>
            <a:noFill/>
            <a:ln>
              <a:noFill/>
            </a:ln>
          </p:spPr>
        </p:pic>
        <p:pic>
          <p:nvPicPr>
            <p:cNvPr id="17" name="Google Shape;17;p2" descr="Logo_C_Blanc.png"/>
            <p:cNvPicPr preferRelativeResize="0"/>
            <p:nvPr/>
          </p:nvPicPr>
          <p:blipFill rotWithShape="1">
            <a:blip r:embed="rId3">
              <a:alphaModFix/>
            </a:blip>
            <a:srcRect/>
            <a:stretch/>
          </p:blipFill>
          <p:spPr>
            <a:xfrm>
              <a:off x="161917" y="234226"/>
              <a:ext cx="688054" cy="540752"/>
            </a:xfrm>
            <a:prstGeom prst="rect">
              <a:avLst/>
            </a:prstGeom>
            <a:noFill/>
            <a:ln>
              <a:noFill/>
            </a:ln>
          </p:spPr>
        </p:pic>
      </p:grpSp>
    </p:spTree>
    <p:extLst>
      <p:ext uri="{BB962C8B-B14F-4D97-AF65-F5344CB8AC3E}">
        <p14:creationId xmlns:p14="http://schemas.microsoft.com/office/powerpoint/2010/main" val="38845817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2.xml"/><Relationship Id="rId7" Type="http://schemas.openxmlformats.org/officeDocument/2006/relationships/vmlDrawing" Target="../drawings/vmlDrawing5.v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10" Type="http://schemas.openxmlformats.org/officeDocument/2006/relationships/image" Target="../media/image1.emf"/><Relationship Id="rId4" Type="http://schemas.openxmlformats.org/officeDocument/2006/relationships/slideLayout" Target="../slideLayouts/slideLayout13.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7.xml"/><Relationship Id="rId7" Type="http://schemas.openxmlformats.org/officeDocument/2006/relationships/tags" Target="../tags/tag1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vmlDrawing" Target="../drawings/vmlDrawing10.vml"/><Relationship Id="rId5" Type="http://schemas.openxmlformats.org/officeDocument/2006/relationships/theme" Target="../theme/theme3.xml"/><Relationship Id="rId4" Type="http://schemas.openxmlformats.org/officeDocument/2006/relationships/slideLayout" Target="../slideLayouts/slideLayout18.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4.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91"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8.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 id="2147483880"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687"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a:t>
            </a:fld>
            <a:endParaRPr lang="en-US" sz="80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8. All rights reserved  </a:t>
            </a:r>
            <a:r>
              <a:rPr lang="en-US">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9"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07"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9DD86665-462F-4636-AA28-880F9A75E08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5775D99E-EBC9-4554-93BE-88F8D974BBA8}"/>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060CDF3-55ED-4558-9059-CFA3C8347176}"/>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61BEF0D-F0BB-DE4B-95CE-6DB70DBA9567}" type="datetimeFigureOut">
              <a:rPr lang="en-US" smtClean="0"/>
              <a:pPr/>
              <a:t>9/24/2020</a:t>
            </a:fld>
            <a:endParaRPr lang="en-US"/>
          </a:p>
        </p:txBody>
      </p:sp>
      <p:sp>
        <p:nvSpPr>
          <p:cNvPr id="5" name="Espace réservé du pied de page 4">
            <a:extLst>
              <a:ext uri="{FF2B5EF4-FFF2-40B4-BE49-F238E27FC236}">
                <a16:creationId xmlns:a16="http://schemas.microsoft.com/office/drawing/2014/main" id="{EFAAE4FB-13FD-4CD1-861E-92CDB7EA2D35}"/>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Espace réservé du numéro de diapositive 5">
            <a:extLst>
              <a:ext uri="{FF2B5EF4-FFF2-40B4-BE49-F238E27FC236}">
                <a16:creationId xmlns:a16="http://schemas.microsoft.com/office/drawing/2014/main" id="{FE3A28AF-3DEE-4DB3-83E8-47F55BE2D6A6}"/>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lvl="0" indent="0" algn="r" rtl="0">
              <a:spcBef>
                <a:spcPts val="0"/>
              </a:spcBef>
              <a:spcAft>
                <a:spcPts val="0"/>
              </a:spcAft>
              <a:buNone/>
            </a:pPr>
            <a:fld id="{00000000-1234-1234-1234-123412341234}" type="slidenum">
              <a:rPr lang="fr-FR" smtClean="0"/>
              <a:pPr marL="0" lvl="0" indent="0" algn="r" rtl="0">
                <a:spcBef>
                  <a:spcPts val="0"/>
                </a:spcBef>
                <a:spcAft>
                  <a:spcPts val="0"/>
                </a:spcAft>
                <a:buNone/>
              </a:pPr>
              <a:t>‹N°›</a:t>
            </a:fld>
            <a:endParaRPr lang="fr-FR"/>
          </a:p>
        </p:txBody>
      </p:sp>
    </p:spTree>
    <p:extLst>
      <p:ext uri="{BB962C8B-B14F-4D97-AF65-F5344CB8AC3E}">
        <p14:creationId xmlns:p14="http://schemas.microsoft.com/office/powerpoint/2010/main" val="1673812633"/>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p:hf sldNum="0"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image" Target="../media/image17.gif"/><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30.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6.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Introduction à Kubernetes</a:t>
            </a:r>
            <a:br>
              <a:rPr lang="en-US"/>
            </a:br>
            <a:endParaRPr lang="en-US">
              <a:ea typeface="Verdana"/>
              <a:cs typeface="Verdana"/>
            </a:endParaRPr>
          </a:p>
        </p:txBody>
      </p:sp>
      <p:sp>
        <p:nvSpPr>
          <p:cNvPr id="3" name="Subtitle 2"/>
          <p:cNvSpPr>
            <a:spLocks noGrp="1"/>
          </p:cNvSpPr>
          <p:nvPr>
            <p:ph type="subTitle" idx="1"/>
          </p:nvPr>
        </p:nvSpPr>
        <p:spPr/>
        <p:txBody>
          <a:bodyPr/>
          <a:lstStyle/>
          <a:p>
            <a:r>
              <a:rPr lang="en-US" err="1"/>
              <a:t>Asma</a:t>
            </a:r>
            <a:r>
              <a:rPr lang="en-US"/>
              <a:t> KRAIDI</a:t>
            </a:r>
          </a:p>
          <a:p>
            <a:r>
              <a:rPr lang="en-US"/>
              <a:t>Bruno FLAMENT</a:t>
            </a:r>
          </a:p>
          <a:p>
            <a:r>
              <a:rPr lang="en-US"/>
              <a:t>Damien GALASSO</a:t>
            </a:r>
          </a:p>
          <a:p>
            <a:r>
              <a:rPr lang="en-US"/>
              <a:t>Gauthier DEQUIDT</a:t>
            </a:r>
          </a:p>
        </p:txBody>
      </p:sp>
      <p:pic>
        <p:nvPicPr>
          <p:cNvPr id="4" name="Espace réservé pour une image  1">
            <a:extLst>
              <a:ext uri="{FF2B5EF4-FFF2-40B4-BE49-F238E27FC236}">
                <a16:creationId xmlns:a16="http://schemas.microsoft.com/office/drawing/2014/main" id="{ECF2E223-0515-49B0-B24B-5F2F0D88884D}"/>
              </a:ext>
            </a:extLst>
          </p:cNvPr>
          <p:cNvPicPr>
            <a:picLocks noChangeAspect="1"/>
          </p:cNvPicPr>
          <p:nvPr/>
        </p:nvPicPr>
        <p:blipFill>
          <a:blip r:embed="rId3">
            <a:extLst>
              <a:ext uri="{28A0092B-C50C-407E-A947-70E740481C1C}">
                <a14:useLocalDpi xmlns:a14="http://schemas.microsoft.com/office/drawing/2010/main" val="0"/>
              </a:ext>
            </a:extLst>
          </a:blip>
          <a:srcRect l="1493" r="1493"/>
          <a:stretch>
            <a:fillRect/>
          </a:stretch>
        </p:blipFill>
        <p:spPr>
          <a:xfrm>
            <a:off x="8709289" y="348436"/>
            <a:ext cx="2664296" cy="2746284"/>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vert="horz" lIns="0" tIns="0" rIns="0" bIns="0" rtlCol="0" anchor="t">
            <a:noAutofit/>
          </a:bodyPr>
          <a:lstStyle/>
          <a:p>
            <a:endParaRPr lang="en-US">
              <a:ea typeface="Verdana"/>
              <a:cs typeface="Verdana"/>
            </a:endParaRPr>
          </a:p>
          <a:p>
            <a:pPr lvl="1"/>
            <a:r>
              <a:rPr lang="en-US"/>
              <a:t>Gestion </a:t>
            </a:r>
            <a:r>
              <a:rPr lang="en-US" err="1"/>
              <a:t>complexe</a:t>
            </a:r>
            <a:r>
              <a:rPr lang="en-US"/>
              <a:t> de multiples </a:t>
            </a:r>
            <a:r>
              <a:rPr lang="en-US" err="1"/>
              <a:t>conteneurs</a:t>
            </a:r>
            <a:endParaRPr lang="en-US"/>
          </a:p>
          <a:p>
            <a:pPr lvl="1"/>
            <a:endParaRPr lang="en-US">
              <a:ea typeface="Verdana"/>
              <a:cs typeface="Verdana"/>
            </a:endParaRPr>
          </a:p>
          <a:p>
            <a:pPr lvl="1"/>
            <a:r>
              <a:rPr lang="en-US" err="1">
                <a:ea typeface="Verdana"/>
                <a:cs typeface="Verdana"/>
              </a:rPr>
              <a:t>Périodes</a:t>
            </a:r>
            <a:r>
              <a:rPr lang="en-US">
                <a:ea typeface="Verdana"/>
                <a:cs typeface="Verdana"/>
              </a:rPr>
              <a:t> </a:t>
            </a:r>
            <a:r>
              <a:rPr lang="en-US" err="1">
                <a:ea typeface="Verdana"/>
                <a:cs typeface="Verdana"/>
              </a:rPr>
              <a:t>d'indisponibilités</a:t>
            </a:r>
            <a:r>
              <a:rPr lang="en-US">
                <a:ea typeface="Verdana"/>
                <a:cs typeface="Verdana"/>
              </a:rPr>
              <a:t> (downtimes) </a:t>
            </a:r>
            <a:r>
              <a:rPr lang="en-US" err="1">
                <a:ea typeface="Verdana"/>
                <a:cs typeface="Verdana"/>
              </a:rPr>
              <a:t>élevées</a:t>
            </a:r>
            <a:endParaRPr lang="en-US">
              <a:ea typeface="Verdana"/>
              <a:cs typeface="Verdana"/>
            </a:endParaRPr>
          </a:p>
          <a:p>
            <a:pPr lvl="1"/>
            <a:endParaRPr lang="en-US">
              <a:ea typeface="Verdana"/>
              <a:cs typeface="Verdana"/>
            </a:endParaRPr>
          </a:p>
          <a:p>
            <a:pPr lvl="1"/>
            <a:r>
              <a:rPr lang="en-US" err="1">
                <a:ea typeface="Verdana"/>
                <a:cs typeface="Verdana"/>
              </a:rPr>
              <a:t>Scalabilité</a:t>
            </a:r>
            <a:r>
              <a:rPr lang="en-US">
                <a:ea typeface="Verdana"/>
                <a:cs typeface="Verdana"/>
              </a:rPr>
              <a:t> </a:t>
            </a:r>
            <a:r>
              <a:rPr lang="en-US" err="1">
                <a:ea typeface="Verdana"/>
                <a:cs typeface="Verdana"/>
              </a:rPr>
              <a:t>complexe</a:t>
            </a:r>
            <a:endParaRPr lang="en-US">
              <a:ea typeface="Verdana"/>
              <a:cs typeface="Verdana"/>
            </a:endParaRPr>
          </a:p>
          <a:p>
            <a:pPr marL="88900" lvl="1" indent="0">
              <a:buNone/>
            </a:pPr>
            <a:endParaRPr lang="en-US">
              <a:ea typeface="Verdana"/>
              <a:cs typeface="Verdana"/>
            </a:endParaRPr>
          </a:p>
          <a:p>
            <a:pPr lvl="1"/>
            <a:r>
              <a:rPr lang="en-US">
                <a:ea typeface="Verdana"/>
                <a:cs typeface="Verdana"/>
              </a:rPr>
              <a:t>Gestion du </a:t>
            </a:r>
            <a:r>
              <a:rPr lang="en-US" err="1">
                <a:ea typeface="+mj-lt"/>
                <a:cs typeface="+mj-lt"/>
              </a:rPr>
              <a:t>réseau</a:t>
            </a:r>
            <a:r>
              <a:rPr lang="en-US">
                <a:ea typeface="+mj-lt"/>
                <a:cs typeface="+mj-lt"/>
              </a:rPr>
              <a:t> et du stockage difficile</a:t>
            </a:r>
            <a:endParaRPr lang="en-US" err="1">
              <a:ea typeface="Verdana"/>
              <a:cs typeface="Verdana"/>
            </a:endParaRPr>
          </a:p>
          <a:p>
            <a:endParaRPr lang="en-GB">
              <a:ea typeface="Verdana"/>
              <a:cs typeface="Verdana"/>
            </a:endParaRPr>
          </a:p>
        </p:txBody>
      </p:sp>
      <p:sp>
        <p:nvSpPr>
          <p:cNvPr id="6" name="Text Placeholder 5"/>
          <p:cNvSpPr>
            <a:spLocks noGrp="1"/>
          </p:cNvSpPr>
          <p:nvPr>
            <p:ph type="body" sz="quarter" idx="12"/>
          </p:nvPr>
        </p:nvSpPr>
        <p:spPr/>
        <p:txBody>
          <a:bodyPr/>
          <a:lstStyle/>
          <a:p>
            <a:r>
              <a:rPr lang="en-GB"/>
              <a:t>Sans orchestrateur</a:t>
            </a:r>
          </a:p>
        </p:txBody>
      </p:sp>
      <p:sp>
        <p:nvSpPr>
          <p:cNvPr id="7" name="Text Placeholder 6"/>
          <p:cNvSpPr>
            <a:spLocks noGrp="1"/>
          </p:cNvSpPr>
          <p:nvPr>
            <p:ph type="body" sz="quarter" idx="13"/>
          </p:nvPr>
        </p:nvSpPr>
        <p:spPr/>
        <p:txBody>
          <a:bodyPr/>
          <a:lstStyle/>
          <a:p>
            <a:r>
              <a:rPr lang="en-GB"/>
              <a:t>Avec orchestrateur</a:t>
            </a:r>
          </a:p>
        </p:txBody>
      </p:sp>
      <p:sp>
        <p:nvSpPr>
          <p:cNvPr id="4" name="Title 3"/>
          <p:cNvSpPr>
            <a:spLocks noGrp="1"/>
          </p:cNvSpPr>
          <p:nvPr>
            <p:ph type="title"/>
          </p:nvPr>
        </p:nvSpPr>
        <p:spPr/>
        <p:txBody>
          <a:bodyPr/>
          <a:lstStyle/>
          <a:p>
            <a:r>
              <a:rPr lang="en-US"/>
              <a:t>Orchestration</a:t>
            </a:r>
            <a:endParaRPr lang="en-GB"/>
          </a:p>
        </p:txBody>
      </p:sp>
      <p:sp>
        <p:nvSpPr>
          <p:cNvPr id="8" name="Text Placeholder 7"/>
          <p:cNvSpPr>
            <a:spLocks noGrp="1"/>
          </p:cNvSpPr>
          <p:nvPr>
            <p:ph type="body" sz="quarter" idx="14"/>
          </p:nvPr>
        </p:nvSpPr>
        <p:spPr>
          <a:xfrm>
            <a:off x="6474016" y="2205319"/>
            <a:ext cx="5341256" cy="4076234"/>
          </a:xfrm>
        </p:spPr>
        <p:txBody>
          <a:bodyPr vert="horz" lIns="0" tIns="0" rIns="0" bIns="0" rtlCol="0" anchor="t">
            <a:noAutofit/>
          </a:bodyPr>
          <a:lstStyle/>
          <a:p>
            <a:pPr lvl="1"/>
            <a:r>
              <a:rPr lang="fr-FR"/>
              <a:t>Orchestrer des conteneurs sur plusieurs hôtes </a:t>
            </a:r>
            <a:r>
              <a:rPr lang="fr-FR" sz="1400"/>
              <a:t>(machines physiques ou virtuelles)</a:t>
            </a:r>
            <a:r>
              <a:rPr lang="fr-FR"/>
              <a:t>; </a:t>
            </a:r>
            <a:endParaRPr lang="fr-FR">
              <a:ea typeface="Verdana"/>
              <a:cs typeface="Verdana"/>
            </a:endParaRPr>
          </a:p>
          <a:p>
            <a:pPr lvl="1"/>
            <a:endParaRPr lang="fr-FR"/>
          </a:p>
          <a:p>
            <a:pPr lvl="1"/>
            <a:r>
              <a:rPr lang="fr-FR"/>
              <a:t>Contrôler et automatiser les déploiements et mises à jour d'applications ;</a:t>
            </a:r>
            <a:endParaRPr lang="fr-FR">
              <a:ea typeface="Verdana"/>
              <a:cs typeface="Verdana"/>
            </a:endParaRPr>
          </a:p>
          <a:p>
            <a:pPr lvl="1"/>
            <a:endParaRPr lang="fr-FR">
              <a:ea typeface="Verdana"/>
              <a:cs typeface="Verdana"/>
            </a:endParaRPr>
          </a:p>
          <a:p>
            <a:pPr lvl="1"/>
            <a:r>
              <a:rPr lang="fr-FR"/>
              <a:t>Scalabilité des ressources à la volée ;</a:t>
            </a:r>
          </a:p>
          <a:p>
            <a:pPr lvl="1"/>
            <a:endParaRPr lang="fr-FR">
              <a:ea typeface="Verdana"/>
              <a:cs typeface="Verdana"/>
            </a:endParaRPr>
          </a:p>
          <a:p>
            <a:pPr lvl="1"/>
            <a:r>
              <a:rPr lang="fr-FR"/>
              <a:t>Gérer des services de façon déclarative (idempotent) ;</a:t>
            </a:r>
            <a:endParaRPr lang="fr-FR">
              <a:ea typeface="Verdana"/>
              <a:cs typeface="Verdana"/>
            </a:endParaRPr>
          </a:p>
          <a:p>
            <a:pPr lvl="1"/>
            <a:endParaRPr lang="fr-FR"/>
          </a:p>
          <a:p>
            <a:pPr lvl="1"/>
            <a:r>
              <a:rPr lang="fr-FR"/>
              <a:t>Réparer automatiquement grâce au placement, au démarrage, à la réplication et à la mise à l'échelle automatiques.</a:t>
            </a:r>
            <a:endParaRPr lang="fr-FR">
              <a:ea typeface="Verdana"/>
              <a:cs typeface="Verdana"/>
            </a:endParaRPr>
          </a:p>
          <a:p>
            <a:pPr lvl="1"/>
            <a:endParaRPr lang="en-US"/>
          </a:p>
          <a:p>
            <a:pPr lvl="2"/>
            <a:endParaRPr lang="en-US">
              <a:ea typeface="Verdana"/>
              <a:cs typeface="Verdana"/>
            </a:endParaRPr>
          </a:p>
          <a:p>
            <a:pPr lvl="1">
              <a:buNone/>
            </a:pPr>
            <a:endParaRPr lang="en-US">
              <a:ea typeface="Verdana"/>
              <a:cs typeface="Verdana"/>
            </a:endParaRPr>
          </a:p>
          <a:p>
            <a:pPr>
              <a:buFont typeface="Arial" panose="020B0604020202020204" pitchFamily="34" charset="0"/>
              <a:buNone/>
            </a:pPr>
            <a:endParaRPr lang="en-GB">
              <a:ea typeface="Verdana"/>
              <a:cs typeface="Verdana"/>
            </a:endParaRPr>
          </a:p>
        </p:txBody>
      </p:sp>
      <p:cxnSp>
        <p:nvCxnSpPr>
          <p:cNvPr id="14" name="Straight Connector 13"/>
          <p:cNvCxnSpPr/>
          <p:nvPr/>
        </p:nvCxnSpPr>
        <p:spPr>
          <a:xfrm>
            <a:off x="6021311"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13556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1340768"/>
            <a:ext cx="5400000" cy="4940785"/>
          </a:xfrm>
        </p:spPr>
        <p:txBody>
          <a:bodyPr vert="horz" lIns="0" tIns="0" rIns="0" bIns="0" rtlCol="0" anchor="t">
            <a:noAutofit/>
          </a:bodyPr>
          <a:lstStyle/>
          <a:p>
            <a:pPr lvl="1"/>
            <a:endParaRPr lang="fr-FR"/>
          </a:p>
          <a:p>
            <a:pPr lvl="1"/>
            <a:endParaRPr lang="fr-FR"/>
          </a:p>
          <a:p>
            <a:pPr lvl="1"/>
            <a:r>
              <a:rPr lang="fr-FR"/>
              <a:t>Découverte de service et l’équilibrage de charge</a:t>
            </a:r>
            <a:endParaRPr lang="fr-FR">
              <a:ea typeface="Verdana"/>
              <a:cs typeface="Verdana"/>
            </a:endParaRPr>
          </a:p>
          <a:p>
            <a:pPr lvl="1"/>
            <a:endParaRPr lang="fr-FR">
              <a:ea typeface="Verdana"/>
              <a:cs typeface="Verdana"/>
            </a:endParaRPr>
          </a:p>
          <a:p>
            <a:pPr lvl="1"/>
            <a:endParaRPr lang="fr-FR"/>
          </a:p>
          <a:p>
            <a:pPr lvl="1"/>
            <a:r>
              <a:rPr lang="fr-FR"/>
              <a:t>Bin packing automatique</a:t>
            </a:r>
          </a:p>
          <a:p>
            <a:pPr lvl="1"/>
            <a:endParaRPr lang="fr-FR">
              <a:ea typeface="Verdana"/>
              <a:cs typeface="Verdana"/>
            </a:endParaRPr>
          </a:p>
          <a:p>
            <a:pPr lvl="1"/>
            <a:endParaRPr lang="fr-FR">
              <a:ea typeface="Verdana"/>
              <a:cs typeface="Verdana"/>
            </a:endParaRPr>
          </a:p>
          <a:p>
            <a:pPr lvl="1"/>
            <a:r>
              <a:rPr lang="fr-FR" err="1"/>
              <a:t>Rollouts</a:t>
            </a:r>
            <a:r>
              <a:rPr lang="fr-FR"/>
              <a:t> et rollbacks automatiques</a:t>
            </a:r>
            <a:endParaRPr lang="fr-FR">
              <a:ea typeface="Verdana"/>
              <a:cs typeface="Verdana"/>
            </a:endParaRPr>
          </a:p>
          <a:p>
            <a:pPr lvl="1"/>
            <a:endParaRPr lang="fr-FR">
              <a:ea typeface="Verdana"/>
              <a:cs typeface="Verdana"/>
            </a:endParaRPr>
          </a:p>
          <a:p>
            <a:pPr lvl="1"/>
            <a:endParaRPr lang="fr-FR">
              <a:ea typeface="Verdana"/>
              <a:cs typeface="Verdana"/>
            </a:endParaRPr>
          </a:p>
          <a:p>
            <a:pPr lvl="1"/>
            <a:r>
              <a:rPr lang="fr-FR"/>
              <a:t>Orchestration du stockage</a:t>
            </a:r>
          </a:p>
          <a:p>
            <a:pPr lvl="1"/>
            <a:endParaRPr lang="fr-FR">
              <a:ea typeface="Verdana"/>
              <a:cs typeface="Verdana"/>
            </a:endParaRPr>
          </a:p>
          <a:p>
            <a:pPr lvl="1"/>
            <a:endParaRPr lang="fr-FR">
              <a:ea typeface="Verdana"/>
              <a:cs typeface="Verdana"/>
            </a:endParaRPr>
          </a:p>
          <a:p>
            <a:pPr lvl="1"/>
            <a:r>
              <a:rPr lang="fr-FR"/>
              <a:t>Topologie de service</a:t>
            </a:r>
            <a:endParaRPr lang="fr-FR">
              <a:ea typeface="Verdana"/>
              <a:cs typeface="Verdana"/>
            </a:endParaRPr>
          </a:p>
        </p:txBody>
      </p:sp>
      <p:sp>
        <p:nvSpPr>
          <p:cNvPr id="4" name="Title 3"/>
          <p:cNvSpPr>
            <a:spLocks noGrp="1"/>
          </p:cNvSpPr>
          <p:nvPr>
            <p:ph type="title"/>
          </p:nvPr>
        </p:nvSpPr>
        <p:spPr/>
        <p:txBody>
          <a:bodyPr/>
          <a:lstStyle/>
          <a:p>
            <a:r>
              <a:rPr lang="en-US" err="1"/>
              <a:t>Principales</a:t>
            </a:r>
            <a:r>
              <a:rPr lang="en-US"/>
              <a:t> </a:t>
            </a:r>
            <a:r>
              <a:rPr lang="en-US" err="1"/>
              <a:t>fonctionnalités</a:t>
            </a:r>
            <a:endParaRPr lang="en-US" err="1">
              <a:ea typeface="Verdana"/>
              <a:cs typeface="Verdana"/>
            </a:endParaRPr>
          </a:p>
        </p:txBody>
      </p:sp>
      <p:sp>
        <p:nvSpPr>
          <p:cNvPr id="8" name="Text Placeholder 7"/>
          <p:cNvSpPr>
            <a:spLocks noGrp="1"/>
          </p:cNvSpPr>
          <p:nvPr>
            <p:ph type="body" sz="quarter" idx="14"/>
          </p:nvPr>
        </p:nvSpPr>
        <p:spPr>
          <a:xfrm>
            <a:off x="6474016" y="1340768"/>
            <a:ext cx="5341256" cy="4940785"/>
          </a:xfrm>
        </p:spPr>
        <p:txBody>
          <a:bodyPr vert="horz" lIns="0" tIns="0" rIns="0" bIns="0" rtlCol="0" anchor="t">
            <a:noAutofit/>
          </a:bodyPr>
          <a:lstStyle/>
          <a:p>
            <a:pPr lvl="1"/>
            <a:endParaRPr lang="fr-FR">
              <a:ea typeface="Verdana"/>
              <a:cs typeface="Verdana"/>
            </a:endParaRPr>
          </a:p>
          <a:p>
            <a:pPr lvl="1"/>
            <a:endParaRPr lang="fr-FR">
              <a:ea typeface="Verdana"/>
              <a:cs typeface="Verdana"/>
            </a:endParaRPr>
          </a:p>
          <a:p>
            <a:pPr lvl="1"/>
            <a:r>
              <a:rPr lang="fr-FR"/>
              <a:t>Self </a:t>
            </a:r>
            <a:r>
              <a:rPr lang="fr-FR" err="1"/>
              <a:t>healing</a:t>
            </a:r>
            <a:endParaRPr lang="fr-FR">
              <a:ea typeface="Verdana"/>
              <a:cs typeface="Verdana"/>
            </a:endParaRPr>
          </a:p>
          <a:p>
            <a:pPr lvl="1"/>
            <a:endParaRPr lang="fr-FR">
              <a:ea typeface="Verdana"/>
              <a:cs typeface="Verdana"/>
            </a:endParaRPr>
          </a:p>
          <a:p>
            <a:pPr lvl="1"/>
            <a:endParaRPr lang="fr-FR"/>
          </a:p>
          <a:p>
            <a:pPr lvl="1"/>
            <a:r>
              <a:rPr lang="fr-FR" err="1"/>
              <a:t>Scaling</a:t>
            </a:r>
            <a:r>
              <a:rPr lang="fr-FR"/>
              <a:t> horizontal</a:t>
            </a:r>
          </a:p>
          <a:p>
            <a:pPr lvl="1"/>
            <a:endParaRPr lang="fr-FR">
              <a:ea typeface="Verdana"/>
              <a:cs typeface="Verdana"/>
            </a:endParaRPr>
          </a:p>
          <a:p>
            <a:pPr lvl="1"/>
            <a:endParaRPr lang="fr-FR"/>
          </a:p>
          <a:p>
            <a:pPr lvl="1"/>
            <a:r>
              <a:rPr lang="fr-FR"/>
              <a:t>Configurations et secrets</a:t>
            </a:r>
          </a:p>
          <a:p>
            <a:pPr lvl="1"/>
            <a:endParaRPr lang="fr-FR">
              <a:ea typeface="Verdana"/>
              <a:cs typeface="Verdana"/>
            </a:endParaRPr>
          </a:p>
          <a:p>
            <a:pPr lvl="1"/>
            <a:endParaRPr lang="fr-FR">
              <a:ea typeface="Verdana"/>
              <a:cs typeface="Verdana"/>
            </a:endParaRPr>
          </a:p>
          <a:p>
            <a:pPr lvl="1"/>
            <a:r>
              <a:rPr lang="fr-FR"/>
              <a:t>Exécution de travail en masse</a:t>
            </a:r>
            <a:endParaRPr lang="fr-FR">
              <a:ea typeface="Verdana"/>
              <a:cs typeface="Verdana"/>
            </a:endParaRPr>
          </a:p>
        </p:txBody>
      </p:sp>
      <p:cxnSp>
        <p:nvCxnSpPr>
          <p:cNvPr id="14" name="Straight Connector 13"/>
          <p:cNvCxnSpPr/>
          <p:nvPr/>
        </p:nvCxnSpPr>
        <p:spPr>
          <a:xfrm flipH="1">
            <a:off x="6021312" y="980728"/>
            <a:ext cx="2680" cy="5300825"/>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74458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1340768"/>
            <a:ext cx="5400000" cy="4940785"/>
          </a:xfrm>
        </p:spPr>
        <p:txBody>
          <a:bodyPr vert="horz" lIns="0" tIns="0" rIns="0" bIns="0" rtlCol="0" anchor="t">
            <a:noAutofit/>
          </a:bodyPr>
          <a:lstStyle/>
          <a:p>
            <a:pPr marL="88900" lvl="1" indent="0">
              <a:buNone/>
            </a:pPr>
            <a:r>
              <a:rPr lang="fr-FR" b="1" i="1" u="sng">
                <a:ea typeface="+mj-lt"/>
                <a:cs typeface="+mj-lt"/>
              </a:rPr>
              <a:t>Alternatives:</a:t>
            </a:r>
          </a:p>
          <a:p>
            <a:pPr lvl="1"/>
            <a:endParaRPr lang="fr-FR">
              <a:ea typeface="+mj-lt"/>
              <a:cs typeface="+mj-lt"/>
            </a:endParaRPr>
          </a:p>
          <a:p>
            <a:pPr lvl="1"/>
            <a:r>
              <a:rPr lang="fr-FR">
                <a:ea typeface="+mj-lt"/>
                <a:cs typeface="+mj-lt"/>
              </a:rPr>
              <a:t>Nomad </a:t>
            </a:r>
            <a:r>
              <a:rPr lang="fr-FR" i="1">
                <a:ea typeface="+mj-lt"/>
                <a:cs typeface="+mj-lt"/>
              </a:rPr>
              <a:t>(</a:t>
            </a:r>
            <a:r>
              <a:rPr lang="fr-FR" i="1" err="1">
                <a:ea typeface="+mj-lt"/>
                <a:cs typeface="+mj-lt"/>
              </a:rPr>
              <a:t>Hashicorp</a:t>
            </a:r>
            <a:r>
              <a:rPr lang="fr-FR" i="1">
                <a:ea typeface="+mj-lt"/>
                <a:cs typeface="+mj-lt"/>
              </a:rPr>
              <a:t>)</a:t>
            </a:r>
            <a:endParaRPr lang="en-US">
              <a:ea typeface="Verdana"/>
              <a:cs typeface="Verdana"/>
            </a:endParaRPr>
          </a:p>
          <a:p>
            <a:pPr lvl="1"/>
            <a:endParaRPr lang="fr-FR">
              <a:ea typeface="+mj-lt"/>
              <a:cs typeface="+mj-lt"/>
            </a:endParaRPr>
          </a:p>
          <a:p>
            <a:pPr lvl="1"/>
            <a:endParaRPr lang="fr-FR">
              <a:ea typeface="Verdana"/>
              <a:cs typeface="Verdana"/>
            </a:endParaRPr>
          </a:p>
          <a:p>
            <a:pPr marL="88900" lvl="1" indent="0">
              <a:buNone/>
            </a:pPr>
            <a:endParaRPr lang="fr-FR">
              <a:ea typeface="Verdana"/>
              <a:cs typeface="Verdana"/>
            </a:endParaRPr>
          </a:p>
          <a:p>
            <a:pPr lvl="1"/>
            <a:r>
              <a:rPr lang="fr-FR" err="1">
                <a:ea typeface="+mj-lt"/>
                <a:cs typeface="+mj-lt"/>
              </a:rPr>
              <a:t>Mesosphere</a:t>
            </a:r>
            <a:r>
              <a:rPr lang="fr-FR">
                <a:ea typeface="+mj-lt"/>
                <a:cs typeface="+mj-lt"/>
              </a:rPr>
              <a:t> Marathon </a:t>
            </a:r>
            <a:r>
              <a:rPr lang="fr-FR" i="1">
                <a:ea typeface="+mj-lt"/>
                <a:cs typeface="+mj-lt"/>
              </a:rPr>
              <a:t>(Apache Software  </a:t>
            </a:r>
            <a:br>
              <a:rPr lang="fr-FR" i="1">
                <a:ea typeface="+mj-lt"/>
                <a:cs typeface="+mj-lt"/>
              </a:rPr>
            </a:br>
            <a:r>
              <a:rPr lang="fr-FR" i="1" err="1">
                <a:ea typeface="+mj-lt"/>
                <a:cs typeface="+mj-lt"/>
              </a:rPr>
              <a:t>Foundation</a:t>
            </a:r>
            <a:r>
              <a:rPr lang="fr-FR" i="1">
                <a:ea typeface="+mj-lt"/>
                <a:cs typeface="+mj-lt"/>
              </a:rPr>
              <a:t>) </a:t>
            </a:r>
            <a:endParaRPr lang="fr-FR"/>
          </a:p>
          <a:p>
            <a:pPr lvl="1"/>
            <a:endParaRPr lang="fr-FR">
              <a:ea typeface="+mj-lt"/>
              <a:cs typeface="+mj-lt"/>
            </a:endParaRPr>
          </a:p>
          <a:p>
            <a:pPr lvl="1"/>
            <a:endParaRPr lang="fr-FR">
              <a:ea typeface="+mj-lt"/>
              <a:cs typeface="+mj-lt"/>
            </a:endParaRPr>
          </a:p>
          <a:p>
            <a:pPr lvl="1"/>
            <a:endParaRPr lang="fr-FR">
              <a:ea typeface="Verdana"/>
              <a:cs typeface="Verdana"/>
            </a:endParaRPr>
          </a:p>
          <a:p>
            <a:pPr lvl="1"/>
            <a:r>
              <a:rPr lang="fr-FR">
                <a:ea typeface="+mj-lt"/>
                <a:cs typeface="+mj-lt"/>
              </a:rPr>
              <a:t>Rancher </a:t>
            </a:r>
            <a:r>
              <a:rPr lang="fr-FR" i="1">
                <a:ea typeface="+mj-lt"/>
                <a:cs typeface="+mj-lt"/>
              </a:rPr>
              <a:t>(Rancher </a:t>
            </a:r>
            <a:r>
              <a:rPr lang="fr-FR" i="1" err="1">
                <a:ea typeface="+mj-lt"/>
                <a:cs typeface="+mj-lt"/>
              </a:rPr>
              <a:t>Labs</a:t>
            </a:r>
            <a:r>
              <a:rPr lang="fr-FR" i="1">
                <a:ea typeface="+mj-lt"/>
                <a:cs typeface="+mj-lt"/>
              </a:rPr>
              <a:t>) </a:t>
            </a:r>
            <a:endParaRPr lang="fr-FR"/>
          </a:p>
          <a:p>
            <a:pPr lvl="1"/>
            <a:endParaRPr lang="fr-FR">
              <a:ea typeface="+mj-lt"/>
              <a:cs typeface="+mj-lt"/>
            </a:endParaRPr>
          </a:p>
          <a:p>
            <a:pPr lvl="1"/>
            <a:endParaRPr lang="fr-FR">
              <a:ea typeface="+mj-lt"/>
              <a:cs typeface="+mj-lt"/>
            </a:endParaRPr>
          </a:p>
          <a:p>
            <a:pPr lvl="1"/>
            <a:endParaRPr lang="fr-FR"/>
          </a:p>
          <a:p>
            <a:pPr lvl="1"/>
            <a:r>
              <a:rPr lang="fr-FR" i="1">
                <a:ea typeface="+mj-lt"/>
                <a:cs typeface="+mj-lt"/>
              </a:rPr>
              <a:t>Docker </a:t>
            </a:r>
            <a:r>
              <a:rPr lang="fr-FR" i="1" err="1">
                <a:ea typeface="+mj-lt"/>
                <a:cs typeface="+mj-lt"/>
              </a:rPr>
              <a:t>Swarm</a:t>
            </a:r>
            <a:r>
              <a:rPr lang="fr-FR" i="1">
                <a:ea typeface="+mj-lt"/>
                <a:cs typeface="+mj-lt"/>
              </a:rPr>
              <a:t> (Docker, Inc.) </a:t>
            </a:r>
            <a:endParaRPr lang="fr-FR"/>
          </a:p>
          <a:p>
            <a:pPr lvl="1"/>
            <a:endParaRPr lang="fr-FR">
              <a:ea typeface="Verdana"/>
              <a:cs typeface="Verdana"/>
            </a:endParaRPr>
          </a:p>
          <a:p>
            <a:pPr lvl="1"/>
            <a:endParaRPr lang="fr-FR">
              <a:ea typeface="Verdana"/>
              <a:cs typeface="Verdana"/>
            </a:endParaRPr>
          </a:p>
        </p:txBody>
      </p:sp>
      <p:sp>
        <p:nvSpPr>
          <p:cNvPr id="4" name="Title 3"/>
          <p:cNvSpPr>
            <a:spLocks noGrp="1"/>
          </p:cNvSpPr>
          <p:nvPr>
            <p:ph type="title"/>
          </p:nvPr>
        </p:nvSpPr>
        <p:spPr/>
        <p:txBody>
          <a:bodyPr/>
          <a:lstStyle/>
          <a:p>
            <a:r>
              <a:rPr lang="en-US"/>
              <a:t>L'univers K8S</a:t>
            </a:r>
            <a:endParaRPr lang="en-US">
              <a:ea typeface="Verdana"/>
              <a:cs typeface="Verdana"/>
            </a:endParaRPr>
          </a:p>
        </p:txBody>
      </p:sp>
      <p:sp>
        <p:nvSpPr>
          <p:cNvPr id="8" name="Text Placeholder 7"/>
          <p:cNvSpPr>
            <a:spLocks noGrp="1"/>
          </p:cNvSpPr>
          <p:nvPr>
            <p:ph type="body" sz="quarter" idx="14"/>
          </p:nvPr>
        </p:nvSpPr>
        <p:spPr>
          <a:xfrm>
            <a:off x="6474016" y="1340768"/>
            <a:ext cx="5341256" cy="4940785"/>
          </a:xfrm>
        </p:spPr>
        <p:txBody>
          <a:bodyPr vert="horz" lIns="0" tIns="0" rIns="0" bIns="0" rtlCol="0" anchor="t">
            <a:noAutofit/>
          </a:bodyPr>
          <a:lstStyle/>
          <a:p>
            <a:r>
              <a:rPr lang="fr-FR" b="1" i="1" u="sng">
                <a:ea typeface="+mj-lt"/>
                <a:cs typeface="+mj-lt"/>
              </a:rPr>
              <a:t>Solutions hébergées:</a:t>
            </a:r>
            <a:endParaRPr lang="fr-FR" b="1" i="1" u="sng">
              <a:ea typeface="Verdana"/>
              <a:cs typeface="Verdana"/>
            </a:endParaRPr>
          </a:p>
          <a:p>
            <a:endParaRPr lang="fr-FR">
              <a:ea typeface="+mj-lt"/>
              <a:cs typeface="+mj-lt"/>
            </a:endParaRPr>
          </a:p>
          <a:p>
            <a:pPr lvl="1"/>
            <a:r>
              <a:rPr lang="fr-FR">
                <a:ea typeface="+mj-lt"/>
                <a:cs typeface="+mj-lt"/>
              </a:rPr>
              <a:t>Google </a:t>
            </a:r>
            <a:r>
              <a:rPr lang="fr-FR" err="1">
                <a:ea typeface="+mj-lt"/>
                <a:cs typeface="+mj-lt"/>
              </a:rPr>
              <a:t>Kubernetes</a:t>
            </a:r>
            <a:r>
              <a:rPr lang="fr-FR">
                <a:ea typeface="+mj-lt"/>
                <a:cs typeface="+mj-lt"/>
              </a:rPr>
              <a:t> Engine (GKE)</a:t>
            </a:r>
          </a:p>
          <a:p>
            <a:pPr lvl="1"/>
            <a:endParaRPr lang="fr-FR">
              <a:ea typeface="+mj-lt"/>
              <a:cs typeface="+mj-lt"/>
            </a:endParaRPr>
          </a:p>
          <a:p>
            <a:pPr lvl="1"/>
            <a:endParaRPr lang="fr-FR">
              <a:ea typeface="+mj-lt"/>
              <a:cs typeface="+mj-lt"/>
            </a:endParaRPr>
          </a:p>
          <a:p>
            <a:pPr lvl="1"/>
            <a:r>
              <a:rPr lang="fr-FR">
                <a:ea typeface="+mj-lt"/>
                <a:cs typeface="+mj-lt"/>
              </a:rPr>
              <a:t>Azure </a:t>
            </a:r>
            <a:r>
              <a:rPr lang="fr-FR" err="1">
                <a:ea typeface="+mj-lt"/>
                <a:cs typeface="+mj-lt"/>
              </a:rPr>
              <a:t>Kubernetes</a:t>
            </a:r>
            <a:r>
              <a:rPr lang="fr-FR">
                <a:ea typeface="+mj-lt"/>
                <a:cs typeface="+mj-lt"/>
              </a:rPr>
              <a:t> Service (AKS)</a:t>
            </a:r>
          </a:p>
          <a:p>
            <a:pPr lvl="1"/>
            <a:endParaRPr lang="fr-FR">
              <a:ea typeface="+mj-lt"/>
              <a:cs typeface="+mj-lt"/>
            </a:endParaRPr>
          </a:p>
          <a:p>
            <a:pPr lvl="1"/>
            <a:endParaRPr lang="fr-FR">
              <a:ea typeface="+mj-lt"/>
              <a:cs typeface="+mj-lt"/>
            </a:endParaRPr>
          </a:p>
          <a:p>
            <a:pPr lvl="1"/>
            <a:r>
              <a:rPr lang="fr-FR">
                <a:ea typeface="+mj-lt"/>
                <a:cs typeface="+mj-lt"/>
              </a:rPr>
              <a:t>Amazon </a:t>
            </a:r>
            <a:r>
              <a:rPr lang="fr-FR" err="1">
                <a:ea typeface="+mj-lt"/>
                <a:cs typeface="+mj-lt"/>
              </a:rPr>
              <a:t>Elastic</a:t>
            </a:r>
            <a:r>
              <a:rPr lang="fr-FR">
                <a:ea typeface="+mj-lt"/>
                <a:cs typeface="+mj-lt"/>
              </a:rPr>
              <a:t> Container Service for </a:t>
            </a:r>
            <a:r>
              <a:rPr lang="fr-FR" err="1">
                <a:ea typeface="+mj-lt"/>
                <a:cs typeface="+mj-lt"/>
              </a:rPr>
              <a:t>Kubernetes</a:t>
            </a:r>
            <a:r>
              <a:rPr lang="fr-FR">
                <a:ea typeface="+mj-lt"/>
                <a:cs typeface="+mj-lt"/>
              </a:rPr>
              <a:t> (EKS)</a:t>
            </a:r>
          </a:p>
          <a:p>
            <a:pPr lvl="1"/>
            <a:endParaRPr lang="fr-FR">
              <a:ea typeface="+mj-lt"/>
              <a:cs typeface="+mj-lt"/>
            </a:endParaRPr>
          </a:p>
          <a:p>
            <a:pPr lvl="1"/>
            <a:endParaRPr lang="fr-FR">
              <a:ea typeface="+mj-lt"/>
              <a:cs typeface="+mj-lt"/>
            </a:endParaRPr>
          </a:p>
          <a:p>
            <a:pPr lvl="1"/>
            <a:r>
              <a:rPr lang="fr-FR" err="1">
                <a:ea typeface="+mj-lt"/>
                <a:cs typeface="+mj-lt"/>
              </a:rPr>
              <a:t>DigitalOcean</a:t>
            </a:r>
            <a:r>
              <a:rPr lang="fr-FR">
                <a:ea typeface="+mj-lt"/>
                <a:cs typeface="+mj-lt"/>
              </a:rPr>
              <a:t> </a:t>
            </a:r>
            <a:r>
              <a:rPr lang="fr-FR" err="1">
                <a:ea typeface="+mj-lt"/>
                <a:cs typeface="+mj-lt"/>
              </a:rPr>
              <a:t>Kubernetes</a:t>
            </a:r>
          </a:p>
          <a:p>
            <a:pPr lvl="1"/>
            <a:endParaRPr lang="fr-FR">
              <a:ea typeface="+mj-lt"/>
              <a:cs typeface="+mj-lt"/>
            </a:endParaRPr>
          </a:p>
          <a:p>
            <a:pPr lvl="1"/>
            <a:endParaRPr lang="fr-FR">
              <a:ea typeface="+mj-lt"/>
              <a:cs typeface="+mj-lt"/>
            </a:endParaRPr>
          </a:p>
          <a:p>
            <a:pPr lvl="1"/>
            <a:r>
              <a:rPr lang="fr-FR" err="1">
                <a:ea typeface="+mj-lt"/>
                <a:cs typeface="+mj-lt"/>
              </a:rPr>
              <a:t>OpenShift</a:t>
            </a:r>
            <a:r>
              <a:rPr lang="fr-FR">
                <a:ea typeface="+mj-lt"/>
                <a:cs typeface="+mj-lt"/>
              </a:rPr>
              <a:t> </a:t>
            </a:r>
            <a:r>
              <a:rPr lang="fr-FR" err="1">
                <a:ea typeface="+mj-lt"/>
                <a:cs typeface="+mj-lt"/>
              </a:rPr>
              <a:t>Dedicated</a:t>
            </a:r>
          </a:p>
          <a:p>
            <a:pPr marL="88900" lvl="1" indent="0">
              <a:buNone/>
            </a:pPr>
            <a:endParaRPr lang="fr-FR">
              <a:ea typeface="+mj-lt"/>
              <a:cs typeface="+mj-lt"/>
            </a:endParaRPr>
          </a:p>
          <a:p>
            <a:pPr marL="88900" lvl="1" indent="0">
              <a:buNone/>
            </a:pPr>
            <a:endParaRPr lang="fr-FR">
              <a:ea typeface="+mj-lt"/>
              <a:cs typeface="+mj-lt"/>
            </a:endParaRPr>
          </a:p>
          <a:p>
            <a:pPr lvl="1"/>
            <a:r>
              <a:rPr lang="fr-FR">
                <a:ea typeface="+mj-lt"/>
                <a:cs typeface="+mj-lt"/>
              </a:rPr>
              <a:t>IBM Cloud </a:t>
            </a:r>
            <a:r>
              <a:rPr lang="fr-FR" err="1">
                <a:ea typeface="+mj-lt"/>
                <a:cs typeface="+mj-lt"/>
              </a:rPr>
              <a:t>Kubernetes</a:t>
            </a:r>
            <a:r>
              <a:rPr lang="fr-FR">
                <a:ea typeface="+mj-lt"/>
                <a:cs typeface="+mj-lt"/>
              </a:rPr>
              <a:t> Service</a:t>
            </a:r>
            <a:endParaRPr lang="fr-FR"/>
          </a:p>
          <a:p>
            <a:endParaRPr lang="fr-FR">
              <a:ea typeface="Verdana"/>
              <a:cs typeface="Verdana"/>
            </a:endParaRPr>
          </a:p>
        </p:txBody>
      </p:sp>
      <p:cxnSp>
        <p:nvCxnSpPr>
          <p:cNvPr id="14" name="Straight Connector 13"/>
          <p:cNvCxnSpPr/>
          <p:nvPr/>
        </p:nvCxnSpPr>
        <p:spPr>
          <a:xfrm flipH="1">
            <a:off x="6021312" y="980728"/>
            <a:ext cx="2680" cy="5300825"/>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pic>
        <p:nvPicPr>
          <p:cNvPr id="2" name="Picture 2">
            <a:extLst>
              <a:ext uri="{FF2B5EF4-FFF2-40B4-BE49-F238E27FC236}">
                <a16:creationId xmlns:a16="http://schemas.microsoft.com/office/drawing/2014/main" id="{780E8F65-289C-4724-A449-49AED09CEE22}"/>
              </a:ext>
            </a:extLst>
          </p:cNvPr>
          <p:cNvPicPr>
            <a:picLocks noChangeAspect="1"/>
          </p:cNvPicPr>
          <p:nvPr/>
        </p:nvPicPr>
        <p:blipFill>
          <a:blip r:embed="rId2"/>
          <a:stretch>
            <a:fillRect/>
          </a:stretch>
        </p:blipFill>
        <p:spPr>
          <a:xfrm>
            <a:off x="4689424" y="1717367"/>
            <a:ext cx="1095375" cy="428625"/>
          </a:xfrm>
          <a:prstGeom prst="rect">
            <a:avLst/>
          </a:prstGeom>
        </p:spPr>
      </p:pic>
      <p:pic>
        <p:nvPicPr>
          <p:cNvPr id="3" name="Picture 5">
            <a:extLst>
              <a:ext uri="{FF2B5EF4-FFF2-40B4-BE49-F238E27FC236}">
                <a16:creationId xmlns:a16="http://schemas.microsoft.com/office/drawing/2014/main" id="{2249E8E0-50DA-4601-B641-BE9AF97DF611}"/>
              </a:ext>
            </a:extLst>
          </p:cNvPr>
          <p:cNvPicPr>
            <a:picLocks noChangeAspect="1"/>
          </p:cNvPicPr>
          <p:nvPr/>
        </p:nvPicPr>
        <p:blipFill>
          <a:blip r:embed="rId3"/>
          <a:stretch>
            <a:fillRect/>
          </a:stretch>
        </p:blipFill>
        <p:spPr>
          <a:xfrm>
            <a:off x="5129365" y="2723308"/>
            <a:ext cx="609600" cy="609600"/>
          </a:xfrm>
          <a:prstGeom prst="rect">
            <a:avLst/>
          </a:prstGeom>
        </p:spPr>
      </p:pic>
      <p:pic>
        <p:nvPicPr>
          <p:cNvPr id="6" name="Picture 6">
            <a:extLst>
              <a:ext uri="{FF2B5EF4-FFF2-40B4-BE49-F238E27FC236}">
                <a16:creationId xmlns:a16="http://schemas.microsoft.com/office/drawing/2014/main" id="{B7CE8843-AE23-4EE1-AFA4-226C8C9F4714}"/>
              </a:ext>
            </a:extLst>
          </p:cNvPr>
          <p:cNvPicPr>
            <a:picLocks noChangeAspect="1"/>
          </p:cNvPicPr>
          <p:nvPr/>
        </p:nvPicPr>
        <p:blipFill>
          <a:blip r:embed="rId4"/>
          <a:stretch>
            <a:fillRect/>
          </a:stretch>
        </p:blipFill>
        <p:spPr>
          <a:xfrm>
            <a:off x="3619617" y="4033054"/>
            <a:ext cx="2190750" cy="323850"/>
          </a:xfrm>
          <a:prstGeom prst="rect">
            <a:avLst/>
          </a:prstGeom>
        </p:spPr>
      </p:pic>
      <p:pic>
        <p:nvPicPr>
          <p:cNvPr id="7" name="Picture 8">
            <a:extLst>
              <a:ext uri="{FF2B5EF4-FFF2-40B4-BE49-F238E27FC236}">
                <a16:creationId xmlns:a16="http://schemas.microsoft.com/office/drawing/2014/main" id="{9E50D237-72D8-4503-A845-224CA18406B3}"/>
              </a:ext>
            </a:extLst>
          </p:cNvPr>
          <p:cNvPicPr>
            <a:picLocks noChangeAspect="1"/>
          </p:cNvPicPr>
          <p:nvPr/>
        </p:nvPicPr>
        <p:blipFill>
          <a:blip r:embed="rId5"/>
          <a:stretch>
            <a:fillRect/>
          </a:stretch>
        </p:blipFill>
        <p:spPr>
          <a:xfrm>
            <a:off x="4775804" y="4732346"/>
            <a:ext cx="847725" cy="866775"/>
          </a:xfrm>
          <a:prstGeom prst="rect">
            <a:avLst/>
          </a:prstGeom>
        </p:spPr>
      </p:pic>
    </p:spTree>
    <p:extLst>
      <p:ext uri="{BB962C8B-B14F-4D97-AF65-F5344CB8AC3E}">
        <p14:creationId xmlns:p14="http://schemas.microsoft.com/office/powerpoint/2010/main" val="35986141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ous-titre 4"/>
          <p:cNvSpPr>
            <a:spLocks noGrp="1"/>
          </p:cNvSpPr>
          <p:nvPr>
            <p:ph type="subTitle" idx="1"/>
          </p:nvPr>
        </p:nvSpPr>
        <p:spPr/>
        <p:txBody>
          <a:bodyPr/>
          <a:lstStyle/>
          <a:p>
            <a:endParaRPr lang="fr-FR" dirty="0"/>
          </a:p>
        </p:txBody>
      </p:sp>
      <p:sp>
        <p:nvSpPr>
          <p:cNvPr id="4" name="Titre 3"/>
          <p:cNvSpPr>
            <a:spLocks noGrp="1"/>
          </p:cNvSpPr>
          <p:nvPr>
            <p:ph type="title"/>
          </p:nvPr>
        </p:nvSpPr>
        <p:spPr/>
        <p:txBody>
          <a:bodyPr lIns="0" tIns="45720" rIns="91440" bIns="45720" anchor="b"/>
          <a:lstStyle/>
          <a:p>
            <a:r>
              <a:rPr lang="en-US" sz="2800" dirty="0">
                <a:ea typeface="+mj-lt"/>
                <a:cs typeface="+mj-lt"/>
              </a:rPr>
              <a:t>The Control-plane </a:t>
            </a:r>
            <a:r>
              <a:rPr lang="en-US" sz="2800" dirty="0"/>
              <a:t>and Kubernetes objects</a:t>
            </a:r>
            <a:endParaRPr lang="en-US" sz="2800" dirty="0">
              <a:ea typeface="Verdana"/>
              <a:cs typeface="Verdana"/>
            </a:endParaRPr>
          </a:p>
        </p:txBody>
      </p:sp>
    </p:spTree>
    <p:extLst>
      <p:ext uri="{BB962C8B-B14F-4D97-AF65-F5344CB8AC3E}">
        <p14:creationId xmlns:p14="http://schemas.microsoft.com/office/powerpoint/2010/main" val="17326207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a:t>Kubernetes</a:t>
            </a:r>
            <a:r>
              <a:rPr lang="fr-FR" dirty="0"/>
              <a:t> </a:t>
            </a:r>
            <a:r>
              <a:rPr lang="fr-FR" dirty="0" err="1"/>
              <a:t>objects</a:t>
            </a:r>
            <a:endParaRPr lang="fr-FR" dirty="0"/>
          </a:p>
        </p:txBody>
      </p:sp>
      <p:sp>
        <p:nvSpPr>
          <p:cNvPr id="4" name="Espace réservé du texte 3"/>
          <p:cNvSpPr>
            <a:spLocks noGrp="1"/>
          </p:cNvSpPr>
          <p:nvPr>
            <p:ph type="body" sz="quarter" idx="11"/>
          </p:nvPr>
        </p:nvSpPr>
        <p:spPr>
          <a:xfrm>
            <a:off x="698648" y="2682132"/>
            <a:ext cx="6591441" cy="1242168"/>
          </a:xfrm>
        </p:spPr>
        <p:txBody>
          <a:bodyPr vert="horz" lIns="0" tIns="0" rIns="0" bIns="0" rtlCol="0" anchor="t">
            <a:normAutofit/>
          </a:bodyPr>
          <a:lstStyle/>
          <a:p>
            <a:pPr algn="just">
              <a:lnSpc>
                <a:spcPct val="150000"/>
              </a:lnSpc>
            </a:pPr>
            <a:r>
              <a:rPr lang="fr-FR" dirty="0"/>
              <a:t>Tout élément dans </a:t>
            </a:r>
            <a:r>
              <a:rPr lang="fr-FR" dirty="0" err="1"/>
              <a:t>Kubernetes</a:t>
            </a:r>
            <a:r>
              <a:rPr lang="fr-FR" dirty="0"/>
              <a:t> est un objet.</a:t>
            </a:r>
          </a:p>
        </p:txBody>
      </p:sp>
      <p:sp>
        <p:nvSpPr>
          <p:cNvPr id="5" name="Espace réservé du texte 4"/>
          <p:cNvSpPr>
            <a:spLocks noGrp="1"/>
          </p:cNvSpPr>
          <p:nvPr>
            <p:ph type="body" sz="quarter" idx="12"/>
          </p:nvPr>
        </p:nvSpPr>
        <p:spPr/>
        <p:txBody>
          <a:bodyPr/>
          <a:lstStyle/>
          <a:p>
            <a:endParaRPr lang="fr-FR"/>
          </a:p>
        </p:txBody>
      </p:sp>
      <p:sp>
        <p:nvSpPr>
          <p:cNvPr id="7" name="Espace réservé du texte 6">
            <a:extLst>
              <a:ext uri="{FF2B5EF4-FFF2-40B4-BE49-F238E27FC236}">
                <a16:creationId xmlns:a16="http://schemas.microsoft.com/office/drawing/2014/main" id="{1D72B3A7-422F-4C47-B774-CCADC2DD5CE1}"/>
              </a:ext>
            </a:extLst>
          </p:cNvPr>
          <p:cNvSpPr>
            <a:spLocks noGrp="1"/>
          </p:cNvSpPr>
          <p:nvPr>
            <p:ph type="body" sz="quarter" idx="10"/>
          </p:nvPr>
        </p:nvSpPr>
        <p:spPr/>
        <p:txBody>
          <a:bodyPr vert="horz" lIns="0" tIns="0" rIns="0" bIns="0" rtlCol="0" anchor="t">
            <a:normAutofit/>
          </a:bodyPr>
          <a:lstStyle/>
          <a:p>
            <a:endParaRPr lang="fr-FR"/>
          </a:p>
          <a:p>
            <a:endParaRPr lang="fr-FR" dirty="0">
              <a:latin typeface="Consolas"/>
              <a:ea typeface="Verdana"/>
              <a:cs typeface="Verdana"/>
            </a:endParaRPr>
          </a:p>
          <a:p>
            <a:endParaRPr lang="fr-FR" dirty="0">
              <a:latin typeface="Consolas"/>
              <a:ea typeface="Verdana"/>
              <a:cs typeface="Verdana"/>
            </a:endParaRPr>
          </a:p>
          <a:p>
            <a:endParaRPr lang="fr-FR" dirty="0">
              <a:latin typeface="Consolas"/>
              <a:ea typeface="Verdana"/>
              <a:cs typeface="Verdana"/>
            </a:endParaRPr>
          </a:p>
          <a:p>
            <a:endParaRPr lang="fr-FR" dirty="0">
              <a:latin typeface="Consolas"/>
              <a:ea typeface="Verdana"/>
              <a:cs typeface="Verdana"/>
            </a:endParaRPr>
          </a:p>
          <a:p>
            <a:r>
              <a:rPr lang="fr-FR" dirty="0">
                <a:latin typeface="Consolas"/>
                <a:ea typeface="+mj-lt"/>
                <a:cs typeface="+mj-lt"/>
              </a:rPr>
              <a:t>Ex:</a:t>
            </a:r>
          </a:p>
          <a:p>
            <a:r>
              <a:rPr lang="fr-FR" dirty="0">
                <a:latin typeface="Consolas"/>
                <a:ea typeface="+mj-lt"/>
                <a:cs typeface="+mj-lt"/>
              </a:rPr>
              <a:t># List tous les objets du </a:t>
            </a:r>
            <a:r>
              <a:rPr lang="fr-FR" dirty="0" err="1">
                <a:latin typeface="Consolas"/>
                <a:ea typeface="+mj-lt"/>
                <a:cs typeface="+mj-lt"/>
              </a:rPr>
              <a:t>namespace</a:t>
            </a:r>
            <a:r>
              <a:rPr lang="fr-FR" dirty="0">
                <a:latin typeface="Consolas"/>
                <a:ea typeface="+mj-lt"/>
                <a:cs typeface="+mj-lt"/>
              </a:rPr>
              <a:t> courant</a:t>
            </a:r>
          </a:p>
          <a:p>
            <a:r>
              <a:rPr lang="fr-FR" dirty="0" err="1">
                <a:ea typeface="+mj-lt"/>
                <a:cs typeface="+mj-lt"/>
              </a:rPr>
              <a:t>kubectl</a:t>
            </a:r>
            <a:r>
              <a:rPr lang="fr-FR" dirty="0">
                <a:ea typeface="+mj-lt"/>
                <a:cs typeface="+mj-lt"/>
              </a:rPr>
              <a:t> </a:t>
            </a:r>
            <a:r>
              <a:rPr lang="fr-FR" dirty="0" err="1">
                <a:ea typeface="+mj-lt"/>
                <a:cs typeface="+mj-lt"/>
              </a:rPr>
              <a:t>get</a:t>
            </a:r>
            <a:r>
              <a:rPr lang="fr-FR" dirty="0">
                <a:ea typeface="+mj-lt"/>
                <a:cs typeface="+mj-lt"/>
              </a:rPr>
              <a:t> all</a:t>
            </a:r>
            <a:endParaRPr lang="fr-FR" dirty="0"/>
          </a:p>
        </p:txBody>
      </p:sp>
    </p:spTree>
    <p:extLst>
      <p:ext uri="{BB962C8B-B14F-4D97-AF65-F5344CB8AC3E}">
        <p14:creationId xmlns:p14="http://schemas.microsoft.com/office/powerpoint/2010/main" val="30736271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974872" y="216477"/>
            <a:ext cx="10377711" cy="1104900"/>
          </a:xfrm>
        </p:spPr>
        <p:txBody>
          <a:bodyPr/>
          <a:lstStyle/>
          <a:p>
            <a:r>
              <a:rPr lang="fr-FR"/>
              <a:t>Declarative Management of Kubernetes Objects</a:t>
            </a:r>
          </a:p>
          <a:p>
            <a:endParaRPr lang="fr-FR" dirty="0">
              <a:ea typeface="Verdana"/>
              <a:cs typeface="Verdana"/>
            </a:endParaRPr>
          </a:p>
        </p:txBody>
      </p:sp>
      <p:sp>
        <p:nvSpPr>
          <p:cNvPr id="5" name="Espace réservé du texte 4"/>
          <p:cNvSpPr>
            <a:spLocks noGrp="1"/>
          </p:cNvSpPr>
          <p:nvPr>
            <p:ph type="body" sz="quarter" idx="12"/>
          </p:nvPr>
        </p:nvSpPr>
        <p:spPr/>
        <p:txBody>
          <a:bodyPr/>
          <a:lstStyle/>
          <a:p>
            <a:endParaRPr lang="fr-FR"/>
          </a:p>
        </p:txBody>
      </p:sp>
      <p:graphicFrame>
        <p:nvGraphicFramePr>
          <p:cNvPr id="6" name="Tableau 5">
            <a:extLst>
              <a:ext uri="{FF2B5EF4-FFF2-40B4-BE49-F238E27FC236}">
                <a16:creationId xmlns:a16="http://schemas.microsoft.com/office/drawing/2014/main" id="{BADB45D4-335C-4511-ACBA-6EAF4282C4B6}"/>
              </a:ext>
            </a:extLst>
          </p:cNvPr>
          <p:cNvGraphicFramePr>
            <a:graphicFrameLocks noGrp="1"/>
          </p:cNvGraphicFramePr>
          <p:nvPr>
            <p:extLst>
              <p:ext uri="{D42A27DB-BD31-4B8C-83A1-F6EECF244321}">
                <p14:modId xmlns:p14="http://schemas.microsoft.com/office/powerpoint/2010/main" val="688044916"/>
              </p:ext>
            </p:extLst>
          </p:nvPr>
        </p:nvGraphicFramePr>
        <p:xfrm>
          <a:off x="1388225" y="2381458"/>
          <a:ext cx="3620881" cy="3287708"/>
        </p:xfrm>
        <a:graphic>
          <a:graphicData uri="http://schemas.openxmlformats.org/drawingml/2006/table">
            <a:tbl>
              <a:tblPr firstRow="1" bandRow="1">
                <a:tableStyleId>{5C22544A-7EE6-4342-B048-85BDC9FD1C3A}</a:tableStyleId>
              </a:tblPr>
              <a:tblGrid>
                <a:gridCol w="3620881">
                  <a:extLst>
                    <a:ext uri="{9D8B030D-6E8A-4147-A177-3AD203B41FA5}">
                      <a16:colId xmlns:a16="http://schemas.microsoft.com/office/drawing/2014/main" val="2138678718"/>
                    </a:ext>
                  </a:extLst>
                </a:gridCol>
              </a:tblGrid>
              <a:tr h="1078056">
                <a:tc>
                  <a:txBody>
                    <a:bodyPr/>
                    <a:lstStyle/>
                    <a:p>
                      <a:pPr lvl="0" algn="ctr">
                        <a:buNone/>
                      </a:pPr>
                      <a:r>
                        <a:rPr lang="fr" sz="3200" b="0" i="0" u="none" strike="noStrike" kern="1200" noProof="0" dirty="0">
                          <a:solidFill>
                            <a:schemeClr val="bg1"/>
                          </a:solidFill>
                          <a:latin typeface="Verdana"/>
                          <a:ea typeface="+mn-ea"/>
                          <a:cs typeface="+mn-cs"/>
                        </a:rPr>
                        <a:t>Commandes impératives</a:t>
                      </a:r>
                      <a:endParaRPr lang="fr-FR" sz="3200" b="0" i="0" u="none" strike="noStrike" kern="1200" dirty="0">
                        <a:solidFill>
                          <a:schemeClr val="bg1"/>
                        </a:solidFill>
                        <a:latin typeface="Verdana"/>
                        <a:ea typeface="+mn-ea"/>
                        <a:cs typeface="+mn-cs"/>
                      </a:endParaRPr>
                    </a:p>
                  </a:txBody>
                  <a:tcPr/>
                </a:tc>
                <a:extLst>
                  <a:ext uri="{0D108BD9-81ED-4DB2-BD59-A6C34878D82A}">
                    <a16:rowId xmlns:a16="http://schemas.microsoft.com/office/drawing/2014/main" val="3534714554"/>
                  </a:ext>
                </a:extLst>
              </a:tr>
              <a:tr h="2209652">
                <a:tc>
                  <a:txBody>
                    <a:bodyPr/>
                    <a:lstStyle/>
                    <a:p>
                      <a:pPr marL="608965" marR="0" lvl="0" indent="-507365" algn="just">
                        <a:lnSpc>
                          <a:spcPct val="100000"/>
                        </a:lnSpc>
                        <a:spcBef>
                          <a:spcPts val="0"/>
                        </a:spcBef>
                        <a:spcAft>
                          <a:spcPts val="0"/>
                        </a:spcAft>
                        <a:buFont typeface="Lato,Sans-Serif"/>
                        <a:buChar char="-"/>
                      </a:pPr>
                      <a:r>
                        <a:rPr lang="fr" sz="3200" b="0" i="0" u="none" strike="noStrike" noProof="0" dirty="0">
                          <a:solidFill>
                            <a:srgbClr val="373A3C"/>
                          </a:solidFill>
                        </a:rPr>
                        <a:t>Executer A,</a:t>
                      </a:r>
                      <a:endParaRPr lang="en-US" sz="3200" b="0" i="0" u="none" strike="noStrike" noProof="0" dirty="0"/>
                    </a:p>
                    <a:p>
                      <a:pPr marL="608965" marR="0" lvl="0" indent="-507365" algn="just">
                        <a:lnSpc>
                          <a:spcPct val="100000"/>
                        </a:lnSpc>
                        <a:spcBef>
                          <a:spcPts val="0"/>
                        </a:spcBef>
                        <a:spcAft>
                          <a:spcPts val="0"/>
                        </a:spcAft>
                        <a:buFont typeface="Lato,Sans-Serif"/>
                        <a:buChar char="-"/>
                      </a:pPr>
                      <a:r>
                        <a:rPr lang="fr" sz="3200" b="0" i="0" u="none" strike="noStrike" noProof="0" dirty="0">
                          <a:solidFill>
                            <a:srgbClr val="373A3C"/>
                          </a:solidFill>
                          <a:latin typeface="Verdana"/>
                        </a:rPr>
                        <a:t>Executer</a:t>
                      </a:r>
                      <a:r>
                        <a:rPr lang="fr" sz="3200" b="0" i="0" u="none" strike="noStrike" noProof="0" dirty="0">
                          <a:solidFill>
                            <a:srgbClr val="373A3C"/>
                          </a:solidFill>
                        </a:rPr>
                        <a:t> B,</a:t>
                      </a:r>
                      <a:endParaRPr lang="fr-FR" sz="3200" dirty="0"/>
                    </a:p>
                    <a:p>
                      <a:pPr marL="608965" marR="0" lvl="0" indent="-507365" algn="just">
                        <a:lnSpc>
                          <a:spcPct val="100000"/>
                        </a:lnSpc>
                        <a:spcBef>
                          <a:spcPts val="0"/>
                        </a:spcBef>
                        <a:spcAft>
                          <a:spcPts val="0"/>
                        </a:spcAft>
                        <a:buFont typeface="Lato,Sans-Serif"/>
                        <a:buChar char="-"/>
                      </a:pPr>
                      <a:r>
                        <a:rPr lang="fr" sz="3200" b="0" i="0" u="none" strike="noStrike" noProof="0" dirty="0">
                          <a:solidFill>
                            <a:srgbClr val="373A3C"/>
                          </a:solidFill>
                          <a:latin typeface="Verdana"/>
                        </a:rPr>
                        <a:t>Executer</a:t>
                      </a:r>
                      <a:r>
                        <a:rPr lang="fr" sz="3200" b="0" i="0" u="none" strike="noStrike" noProof="0" dirty="0">
                          <a:solidFill>
                            <a:srgbClr val="373A3C"/>
                          </a:solidFill>
                        </a:rPr>
                        <a:t> C</a:t>
                      </a:r>
                      <a:endParaRPr lang="fr-FR" sz="3200" dirty="0"/>
                    </a:p>
                  </a:txBody>
                  <a:tcPr/>
                </a:tc>
                <a:extLst>
                  <a:ext uri="{0D108BD9-81ED-4DB2-BD59-A6C34878D82A}">
                    <a16:rowId xmlns:a16="http://schemas.microsoft.com/office/drawing/2014/main" val="2877880665"/>
                  </a:ext>
                </a:extLst>
              </a:tr>
            </a:tbl>
          </a:graphicData>
        </a:graphic>
      </p:graphicFrame>
      <p:graphicFrame>
        <p:nvGraphicFramePr>
          <p:cNvPr id="7" name="Tableau 20">
            <a:extLst>
              <a:ext uri="{FF2B5EF4-FFF2-40B4-BE49-F238E27FC236}">
                <a16:creationId xmlns:a16="http://schemas.microsoft.com/office/drawing/2014/main" id="{17E8FB3F-3D2C-4EBC-9CEB-BFFEADFC5E4A}"/>
              </a:ext>
            </a:extLst>
          </p:cNvPr>
          <p:cNvGraphicFramePr>
            <a:graphicFrameLocks noGrp="1"/>
          </p:cNvGraphicFramePr>
          <p:nvPr>
            <p:extLst>
              <p:ext uri="{D42A27DB-BD31-4B8C-83A1-F6EECF244321}">
                <p14:modId xmlns:p14="http://schemas.microsoft.com/office/powerpoint/2010/main" val="2928207015"/>
              </p:ext>
            </p:extLst>
          </p:nvPr>
        </p:nvGraphicFramePr>
        <p:xfrm>
          <a:off x="6369627" y="2398776"/>
          <a:ext cx="4647700" cy="3276452"/>
        </p:xfrm>
        <a:graphic>
          <a:graphicData uri="http://schemas.openxmlformats.org/drawingml/2006/table">
            <a:tbl>
              <a:tblPr firstRow="1" bandRow="1">
                <a:tableStyleId>{5C22544A-7EE6-4342-B048-85BDC9FD1C3A}</a:tableStyleId>
              </a:tblPr>
              <a:tblGrid>
                <a:gridCol w="4647700">
                  <a:extLst>
                    <a:ext uri="{9D8B030D-6E8A-4147-A177-3AD203B41FA5}">
                      <a16:colId xmlns:a16="http://schemas.microsoft.com/office/drawing/2014/main" val="2138678718"/>
                    </a:ext>
                  </a:extLst>
                </a:gridCol>
              </a:tblGrid>
              <a:tr h="766329">
                <a:tc>
                  <a:txBody>
                    <a:bodyPr/>
                    <a:lstStyle/>
                    <a:p>
                      <a:pPr lvl="0" algn="ctr">
                        <a:buNone/>
                      </a:pPr>
                      <a:r>
                        <a:rPr lang="fr" sz="3200" b="0" i="0" u="none" strike="noStrike" noProof="0" dirty="0">
                          <a:solidFill>
                            <a:schemeClr val="bg1"/>
                          </a:solidFill>
                          <a:latin typeface="Verdana"/>
                        </a:rPr>
                        <a:t>Configuration déclarative</a:t>
                      </a:r>
                      <a:endParaRPr lang="fr-FR" sz="3200" dirty="0">
                        <a:solidFill>
                          <a:schemeClr val="bg1"/>
                        </a:solidFill>
                      </a:endParaRPr>
                    </a:p>
                  </a:txBody>
                  <a:tcPr/>
                </a:tc>
                <a:extLst>
                  <a:ext uri="{0D108BD9-81ED-4DB2-BD59-A6C34878D82A}">
                    <a16:rowId xmlns:a16="http://schemas.microsoft.com/office/drawing/2014/main" val="3534714554"/>
                  </a:ext>
                </a:extLst>
              </a:tr>
              <a:tr h="2209652">
                <a:tc>
                  <a:txBody>
                    <a:bodyPr/>
                    <a:lstStyle/>
                    <a:p>
                      <a:pPr lvl="0" algn="just">
                        <a:buNone/>
                      </a:pPr>
                      <a:r>
                        <a:rPr lang="fr" sz="3200" b="0" i="0" u="none" strike="noStrike" noProof="0" dirty="0">
                          <a:solidFill>
                            <a:srgbClr val="373A3C"/>
                          </a:solidFill>
                          <a:latin typeface="Verdana"/>
                        </a:rPr>
                        <a:t>Je veux A, B et C</a:t>
                      </a:r>
                    </a:p>
                  </a:txBody>
                  <a:tcPr/>
                </a:tc>
                <a:extLst>
                  <a:ext uri="{0D108BD9-81ED-4DB2-BD59-A6C34878D82A}">
                    <a16:rowId xmlns:a16="http://schemas.microsoft.com/office/drawing/2014/main" val="2877880665"/>
                  </a:ext>
                </a:extLst>
              </a:tr>
            </a:tbl>
          </a:graphicData>
        </a:graphic>
      </p:graphicFrame>
    </p:spTree>
    <p:extLst>
      <p:ext uri="{BB962C8B-B14F-4D97-AF65-F5344CB8AC3E}">
        <p14:creationId xmlns:p14="http://schemas.microsoft.com/office/powerpoint/2010/main" val="30206621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Quel est l'avantage ?</a:t>
            </a:r>
          </a:p>
        </p:txBody>
      </p:sp>
      <p:sp>
        <p:nvSpPr>
          <p:cNvPr id="3" name="Espace réservé du texte 2"/>
          <p:cNvSpPr>
            <a:spLocks noGrp="1"/>
          </p:cNvSpPr>
          <p:nvPr>
            <p:ph type="body" sz="quarter" idx="10"/>
          </p:nvPr>
        </p:nvSpPr>
        <p:spPr/>
        <p:txBody>
          <a:bodyPr/>
          <a:lstStyle/>
          <a:p>
            <a:endParaRPr lang="fr-FR" dirty="0"/>
          </a:p>
        </p:txBody>
      </p:sp>
      <p:sp>
        <p:nvSpPr>
          <p:cNvPr id="4" name="Espace réservé du texte 3"/>
          <p:cNvSpPr>
            <a:spLocks noGrp="1"/>
          </p:cNvSpPr>
          <p:nvPr>
            <p:ph type="body" sz="quarter" idx="11"/>
          </p:nvPr>
        </p:nvSpPr>
        <p:spPr>
          <a:xfrm>
            <a:off x="974872" y="2415431"/>
            <a:ext cx="8188178" cy="1880343"/>
          </a:xfrm>
        </p:spPr>
        <p:txBody>
          <a:bodyPr>
            <a:normAutofit/>
          </a:bodyPr>
          <a:lstStyle/>
          <a:p>
            <a:r>
              <a:rPr lang="fr-FR" dirty="0"/>
              <a:t>La configuration déclarative est beaucoup moins sujette aux erreurs, </a:t>
            </a:r>
            <a:r>
              <a:rPr lang="fr-FR" dirty="0" err="1"/>
              <a:t>Kubernetes</a:t>
            </a:r>
            <a:r>
              <a:rPr lang="fr-FR" dirty="0"/>
              <a:t> sait ce qu'il doit faire et le fait pour vous.</a:t>
            </a:r>
          </a:p>
        </p:txBody>
      </p:sp>
      <p:sp>
        <p:nvSpPr>
          <p:cNvPr id="5" name="Espace réservé du texte 4"/>
          <p:cNvSpPr>
            <a:spLocks noGrp="1"/>
          </p:cNvSpPr>
          <p:nvPr>
            <p:ph type="body" sz="quarter" idx="12"/>
          </p:nvPr>
        </p:nvSpPr>
        <p:spPr/>
        <p:txBody>
          <a:bodyPr/>
          <a:lstStyle/>
          <a:p>
            <a:endParaRPr lang="fr-FR"/>
          </a:p>
        </p:txBody>
      </p:sp>
    </p:spTree>
    <p:extLst>
      <p:ext uri="{BB962C8B-B14F-4D97-AF65-F5344CB8AC3E}">
        <p14:creationId xmlns:p14="http://schemas.microsoft.com/office/powerpoint/2010/main" val="39753905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078781" y="178783"/>
            <a:ext cx="10377711" cy="1104900"/>
          </a:xfrm>
        </p:spPr>
        <p:txBody>
          <a:bodyPr/>
          <a:lstStyle/>
          <a:p>
            <a:r>
              <a:rPr lang="en-US" sz="3200">
                <a:ea typeface="Verdana"/>
                <a:cs typeface="Verdana"/>
              </a:rPr>
              <a:t>Quel composant du control-plane encapsule les commandes impératives ?</a:t>
            </a:r>
            <a:endParaRPr lang="fr-FR"/>
          </a:p>
        </p:txBody>
      </p:sp>
      <p:sp>
        <p:nvSpPr>
          <p:cNvPr id="5" name="Espace réservé du texte 4"/>
          <p:cNvSpPr>
            <a:spLocks noGrp="1"/>
          </p:cNvSpPr>
          <p:nvPr>
            <p:ph type="body" sz="quarter" idx="12"/>
          </p:nvPr>
        </p:nvSpPr>
        <p:spPr/>
        <p:txBody>
          <a:bodyPr/>
          <a:lstStyle/>
          <a:p>
            <a:endParaRPr lang="fr-FR"/>
          </a:p>
        </p:txBody>
      </p:sp>
      <p:pic>
        <p:nvPicPr>
          <p:cNvPr id="6" name="Image 20" descr="Une image contenant dessin&#10;&#10;Description générée automatiquement">
            <a:extLst>
              <a:ext uri="{FF2B5EF4-FFF2-40B4-BE49-F238E27FC236}">
                <a16:creationId xmlns:a16="http://schemas.microsoft.com/office/drawing/2014/main" id="{9776B441-C90F-4968-B6EF-082939E766C6}"/>
              </a:ext>
            </a:extLst>
          </p:cNvPr>
          <p:cNvPicPr>
            <a:picLocks noChangeAspect="1"/>
          </p:cNvPicPr>
          <p:nvPr/>
        </p:nvPicPr>
        <p:blipFill>
          <a:blip r:embed="rId2"/>
          <a:stretch>
            <a:fillRect/>
          </a:stretch>
        </p:blipFill>
        <p:spPr>
          <a:xfrm>
            <a:off x="10159278" y="4231696"/>
            <a:ext cx="1640898" cy="1970810"/>
          </a:xfrm>
          <a:prstGeom prst="rect">
            <a:avLst/>
          </a:prstGeom>
        </p:spPr>
      </p:pic>
      <p:sp>
        <p:nvSpPr>
          <p:cNvPr id="7" name="ZoneTexte 6">
            <a:extLst>
              <a:ext uri="{FF2B5EF4-FFF2-40B4-BE49-F238E27FC236}">
                <a16:creationId xmlns:a16="http://schemas.microsoft.com/office/drawing/2014/main" id="{89688EA2-5941-4AC0-A428-F9FB755FECE8}"/>
              </a:ext>
            </a:extLst>
          </p:cNvPr>
          <p:cNvSpPr txBox="1"/>
          <p:nvPr/>
        </p:nvSpPr>
        <p:spPr>
          <a:xfrm>
            <a:off x="1078923" y="1711037"/>
            <a:ext cx="9618517"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dirty="0" err="1">
                <a:solidFill>
                  <a:srgbClr val="0070AD"/>
                </a:solidFill>
              </a:rPr>
              <a:t>Kube</a:t>
            </a:r>
            <a:r>
              <a:rPr lang="fr-FR" dirty="0">
                <a:solidFill>
                  <a:srgbClr val="0070AD"/>
                </a:solidFill>
              </a:rPr>
              <a:t>-</a:t>
            </a:r>
            <a:r>
              <a:rPr lang="fr-FR" dirty="0" err="1">
                <a:solidFill>
                  <a:srgbClr val="0070AD"/>
                </a:solidFill>
              </a:rPr>
              <a:t>controller</a:t>
            </a:r>
            <a:r>
              <a:rPr lang="fr-FR" dirty="0">
                <a:solidFill>
                  <a:srgbClr val="0070AD"/>
                </a:solidFill>
              </a:rPr>
              <a:t>-manager</a:t>
            </a:r>
            <a:endParaRPr lang="fr-FR">
              <a:solidFill>
                <a:srgbClr val="000000"/>
              </a:solidFill>
              <a:ea typeface="Verdana"/>
              <a:cs typeface="Verdana"/>
            </a:endParaRPr>
          </a:p>
          <a:p>
            <a:endParaRPr lang="fr-FR" dirty="0">
              <a:solidFill>
                <a:srgbClr val="0070AD"/>
              </a:solidFill>
              <a:ea typeface="+mn-lt"/>
              <a:cs typeface="+mn-lt"/>
            </a:endParaRPr>
          </a:p>
          <a:p>
            <a:r>
              <a:rPr lang="fr-FR" dirty="0" err="1">
                <a:ea typeface="+mn-lt"/>
                <a:cs typeface="+mn-lt"/>
              </a:rPr>
              <a:t>Kubernetes</a:t>
            </a:r>
            <a:r>
              <a:rPr lang="fr-FR" dirty="0">
                <a:ea typeface="+mn-lt"/>
                <a:cs typeface="+mn-lt"/>
              </a:rPr>
              <a:t> est livré avec un ensemble de contrôleurs intégrés qui s'exécutent à l'intérieur du </a:t>
            </a:r>
            <a:r>
              <a:rPr lang="fr-FR" dirty="0" err="1">
                <a:ea typeface="+mn-lt"/>
                <a:cs typeface="+mn-lt"/>
              </a:rPr>
              <a:t>kube</a:t>
            </a:r>
            <a:r>
              <a:rPr lang="fr-FR" dirty="0">
                <a:ea typeface="+mn-lt"/>
                <a:cs typeface="+mn-lt"/>
              </a:rPr>
              <a:t>-</a:t>
            </a:r>
            <a:r>
              <a:rPr lang="fr-FR" dirty="0" err="1">
                <a:ea typeface="+mn-lt"/>
                <a:cs typeface="+mn-lt"/>
              </a:rPr>
              <a:t>controller</a:t>
            </a:r>
            <a:r>
              <a:rPr lang="fr-FR" dirty="0">
                <a:ea typeface="+mn-lt"/>
                <a:cs typeface="+mn-lt"/>
              </a:rPr>
              <a:t>-manager.</a:t>
            </a:r>
          </a:p>
          <a:p>
            <a:endParaRPr lang="fr-FR" dirty="0">
              <a:ea typeface="+mn-lt"/>
              <a:cs typeface="+mn-lt"/>
            </a:endParaRPr>
          </a:p>
          <a:p>
            <a:r>
              <a:rPr lang="fr-FR" dirty="0">
                <a:ea typeface="+mn-lt"/>
                <a:cs typeface="+mn-lt"/>
              </a:rPr>
              <a:t>Ex:</a:t>
            </a:r>
          </a:p>
          <a:p>
            <a:r>
              <a:rPr lang="fr-FR" dirty="0">
                <a:ea typeface="+mn-lt"/>
                <a:cs typeface="+mn-lt"/>
              </a:rPr>
              <a:t>https://github.com/kubernetes/kubernetes/blob/master/pkg/controller/serviceaccount/serviceaccounts_controller.go#L155</a:t>
            </a:r>
            <a:endParaRPr lang="fr-FR"/>
          </a:p>
        </p:txBody>
      </p:sp>
    </p:spTree>
    <p:extLst>
      <p:ext uri="{BB962C8B-B14F-4D97-AF65-F5344CB8AC3E}">
        <p14:creationId xmlns:p14="http://schemas.microsoft.com/office/powerpoint/2010/main" val="2429678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Bonne pratique: git</a:t>
            </a:r>
          </a:p>
        </p:txBody>
      </p:sp>
      <p:sp>
        <p:nvSpPr>
          <p:cNvPr id="4" name="Espace réservé du texte 3"/>
          <p:cNvSpPr>
            <a:spLocks noGrp="1"/>
          </p:cNvSpPr>
          <p:nvPr>
            <p:ph type="body" sz="quarter" idx="11"/>
          </p:nvPr>
        </p:nvSpPr>
        <p:spPr/>
        <p:txBody>
          <a:bodyPr/>
          <a:lstStyle/>
          <a:p>
            <a:r>
              <a:rPr lang="fr-FR" dirty="0"/>
              <a:t>Couplé à un système de gestion de version, cela facilite les retours en arrière.</a:t>
            </a:r>
          </a:p>
        </p:txBody>
      </p:sp>
      <p:sp>
        <p:nvSpPr>
          <p:cNvPr id="5" name="Espace réservé du texte 4"/>
          <p:cNvSpPr>
            <a:spLocks noGrp="1"/>
          </p:cNvSpPr>
          <p:nvPr>
            <p:ph type="body" sz="quarter" idx="12"/>
          </p:nvPr>
        </p:nvSpPr>
        <p:spPr/>
        <p:txBody>
          <a:bodyPr/>
          <a:lstStyle/>
          <a:p>
            <a:endParaRPr lang="fr-FR"/>
          </a:p>
        </p:txBody>
      </p:sp>
      <p:pic>
        <p:nvPicPr>
          <p:cNvPr id="6" name="Image 5" descr="Une image contenant horloge, dessin&#10;&#10;Description générée automatiquement">
            <a:extLst>
              <a:ext uri="{FF2B5EF4-FFF2-40B4-BE49-F238E27FC236}">
                <a16:creationId xmlns:a16="http://schemas.microsoft.com/office/drawing/2014/main" id="{B04BC7EA-183A-42EE-891B-3A3CADA3AE6A}"/>
              </a:ext>
            </a:extLst>
          </p:cNvPr>
          <p:cNvPicPr>
            <a:picLocks noChangeAspect="1"/>
          </p:cNvPicPr>
          <p:nvPr/>
        </p:nvPicPr>
        <p:blipFill>
          <a:blip r:embed="rId2"/>
          <a:stretch>
            <a:fillRect/>
          </a:stretch>
        </p:blipFill>
        <p:spPr>
          <a:xfrm>
            <a:off x="970583" y="2097894"/>
            <a:ext cx="10543933" cy="4188313"/>
          </a:xfrm>
          <a:prstGeom prst="rect">
            <a:avLst/>
          </a:prstGeom>
          <a:effectLst/>
        </p:spPr>
      </p:pic>
    </p:spTree>
    <p:extLst>
      <p:ext uri="{BB962C8B-B14F-4D97-AF65-F5344CB8AC3E}">
        <p14:creationId xmlns:p14="http://schemas.microsoft.com/office/powerpoint/2010/main" val="7920475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Où sont stockés les objets ?</a:t>
            </a:r>
          </a:p>
        </p:txBody>
      </p:sp>
      <p:sp>
        <p:nvSpPr>
          <p:cNvPr id="3" name="Espace réservé du texte 2"/>
          <p:cNvSpPr>
            <a:spLocks noGrp="1"/>
          </p:cNvSpPr>
          <p:nvPr>
            <p:ph type="body" sz="quarter" idx="10"/>
          </p:nvPr>
        </p:nvSpPr>
        <p:spPr>
          <a:xfrm>
            <a:off x="868120" y="1884624"/>
            <a:ext cx="6935453" cy="4467600"/>
          </a:xfrm>
        </p:spPr>
        <p:txBody>
          <a:bodyPr vert="horz" lIns="0" tIns="0" rIns="0" bIns="0" rtlCol="0" anchor="t">
            <a:normAutofit/>
          </a:bodyPr>
          <a:lstStyle/>
          <a:p>
            <a:endParaRPr lang="en-US" dirty="0"/>
          </a:p>
          <a:p>
            <a:pPr marL="342900" indent="-342900">
              <a:buFont typeface="Wingdings" panose="05000000000000000000" pitchFamily="2" charset="2"/>
              <a:buChar char="ü"/>
            </a:pPr>
            <a:r>
              <a:rPr lang="en-US" dirty="0"/>
              <a:t>Key-value storage</a:t>
            </a:r>
            <a:endParaRPr lang="en-US" dirty="0">
              <a:ea typeface="Verdana"/>
              <a:cs typeface="Verdana"/>
            </a:endParaRPr>
          </a:p>
          <a:p>
            <a:pPr marL="342900" indent="-342900">
              <a:buFont typeface="Wingdings" panose="05000000000000000000" pitchFamily="2" charset="2"/>
              <a:buChar char="ü"/>
            </a:pPr>
            <a:r>
              <a:rPr lang="en-US" dirty="0"/>
              <a:t>Distributed System</a:t>
            </a:r>
            <a:endParaRPr lang="en-US" dirty="0">
              <a:ea typeface="Verdana"/>
              <a:cs typeface="Verdana"/>
            </a:endParaRPr>
          </a:p>
          <a:p>
            <a:pPr marL="342900" indent="-342900">
              <a:buFont typeface="Wingdings" panose="05000000000000000000" pitchFamily="2" charset="2"/>
              <a:buChar char="ü"/>
            </a:pPr>
            <a:r>
              <a:rPr lang="en-US" dirty="0"/>
              <a:t>Watch for changes</a:t>
            </a:r>
          </a:p>
          <a:p>
            <a:r>
              <a:rPr lang="en-US" sz="1800" i="1" dirty="0"/>
              <a:t>Watch specific keys or directories for changes and react to changes in values</a:t>
            </a:r>
          </a:p>
        </p:txBody>
      </p:sp>
      <p:sp>
        <p:nvSpPr>
          <p:cNvPr id="4" name="Espace réservé du texte 3"/>
          <p:cNvSpPr>
            <a:spLocks noGrp="1"/>
          </p:cNvSpPr>
          <p:nvPr>
            <p:ph type="body" sz="quarter" idx="11"/>
          </p:nvPr>
        </p:nvSpPr>
        <p:spPr/>
        <p:txBody>
          <a:bodyPr vert="horz" lIns="0" tIns="0" rIns="0" bIns="0" rtlCol="0" anchor="t">
            <a:normAutofit/>
          </a:bodyPr>
          <a:lstStyle/>
          <a:p>
            <a:r>
              <a:rPr lang="fr-FR" dirty="0">
                <a:ea typeface="Verdana"/>
                <a:cs typeface="Verdana"/>
              </a:rPr>
              <a:t>Datastore : ETCD</a:t>
            </a:r>
            <a:endParaRPr lang="fr-FR" dirty="0"/>
          </a:p>
        </p:txBody>
      </p:sp>
      <p:sp>
        <p:nvSpPr>
          <p:cNvPr id="5" name="Espace réservé du texte 4"/>
          <p:cNvSpPr>
            <a:spLocks noGrp="1"/>
          </p:cNvSpPr>
          <p:nvPr>
            <p:ph type="body" sz="quarter" idx="12"/>
          </p:nvPr>
        </p:nvSpPr>
        <p:spPr/>
        <p:txBody>
          <a:bodyPr/>
          <a:lstStyle/>
          <a:p>
            <a:endParaRPr lang="fr-FR"/>
          </a:p>
        </p:txBody>
      </p:sp>
      <p:pic>
        <p:nvPicPr>
          <p:cNvPr id="6" name="Image 5">
            <a:extLst>
              <a:ext uri="{FF2B5EF4-FFF2-40B4-BE49-F238E27FC236}">
                <a16:creationId xmlns:a16="http://schemas.microsoft.com/office/drawing/2014/main" id="{AEBADD26-10B8-4DB2-A441-5EEC84A67542}"/>
              </a:ext>
            </a:extLst>
          </p:cNvPr>
          <p:cNvPicPr>
            <a:picLocks noChangeAspect="1"/>
          </p:cNvPicPr>
          <p:nvPr/>
        </p:nvPicPr>
        <p:blipFill>
          <a:blip r:embed="rId2"/>
          <a:stretch>
            <a:fillRect/>
          </a:stretch>
        </p:blipFill>
        <p:spPr>
          <a:xfrm>
            <a:off x="8472360" y="1886715"/>
            <a:ext cx="2475375" cy="1301495"/>
          </a:xfrm>
          <a:prstGeom prst="rect">
            <a:avLst/>
          </a:prstGeom>
        </p:spPr>
      </p:pic>
    </p:spTree>
    <p:extLst>
      <p:ext uri="{BB962C8B-B14F-4D97-AF65-F5344CB8AC3E}">
        <p14:creationId xmlns:p14="http://schemas.microsoft.com/office/powerpoint/2010/main" val="22032043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ous-titre 3"/>
          <p:cNvSpPr>
            <a:spLocks noGrp="1"/>
          </p:cNvSpPr>
          <p:nvPr>
            <p:ph type="subTitle" idx="1"/>
          </p:nvPr>
        </p:nvSpPr>
        <p:spPr/>
        <p:txBody>
          <a:bodyPr/>
          <a:lstStyle/>
          <a:p>
            <a:endParaRPr lang="fr-FR"/>
          </a:p>
        </p:txBody>
      </p:sp>
      <p:sp>
        <p:nvSpPr>
          <p:cNvPr id="3" name="Title 2">
            <a:extLst>
              <a:ext uri="{FF2B5EF4-FFF2-40B4-BE49-F238E27FC236}">
                <a16:creationId xmlns:a16="http://schemas.microsoft.com/office/drawing/2014/main" id="{94877C5B-2323-400F-95CE-6C47F22676F5}"/>
              </a:ext>
            </a:extLst>
          </p:cNvPr>
          <p:cNvSpPr>
            <a:spLocks noGrp="1"/>
          </p:cNvSpPr>
          <p:nvPr>
            <p:ph type="title"/>
          </p:nvPr>
        </p:nvSpPr>
        <p:spPr/>
        <p:txBody>
          <a:bodyPr lIns="0" tIns="45720" rIns="91440" bIns="45720" anchor="b"/>
          <a:lstStyle/>
          <a:p>
            <a:r>
              <a:rPr lang="en-US" err="1">
                <a:ea typeface="Verdana"/>
                <a:cs typeface="Verdana"/>
              </a:rPr>
              <a:t>Qu'est-ce</a:t>
            </a:r>
            <a:r>
              <a:rPr lang="en-US">
                <a:ea typeface="Verdana"/>
                <a:cs typeface="Verdana"/>
              </a:rPr>
              <a:t> que les containers et les architectures micro-services ?</a:t>
            </a:r>
            <a:endParaRPr lang="en-US"/>
          </a:p>
        </p:txBody>
      </p:sp>
    </p:spTree>
    <p:extLst>
      <p:ext uri="{BB962C8B-B14F-4D97-AF65-F5344CB8AC3E}">
        <p14:creationId xmlns:p14="http://schemas.microsoft.com/office/powerpoint/2010/main" val="6661702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3"/>
          </p:nvPr>
        </p:nvSpPr>
        <p:spPr>
          <a:xfrm>
            <a:off x="5142771" y="801675"/>
            <a:ext cx="5163279" cy="412363"/>
          </a:xfrm>
        </p:spPr>
        <p:txBody>
          <a:bodyPr/>
          <a:lstStyle/>
          <a:p>
            <a:r>
              <a:rPr lang="fr-FR" dirty="0"/>
              <a:t>Le principe de l'auto-guérison</a:t>
            </a:r>
          </a:p>
        </p:txBody>
      </p:sp>
      <p:sp>
        <p:nvSpPr>
          <p:cNvPr id="4" name="Espace réservé du texte 3"/>
          <p:cNvSpPr>
            <a:spLocks noGrp="1"/>
          </p:cNvSpPr>
          <p:nvPr>
            <p:ph type="body" sz="quarter" idx="10"/>
          </p:nvPr>
        </p:nvSpPr>
        <p:spPr>
          <a:xfrm>
            <a:off x="361950" y="3838576"/>
            <a:ext cx="4486275" cy="2447924"/>
          </a:xfrm>
        </p:spPr>
        <p:txBody>
          <a:bodyPr/>
          <a:lstStyle/>
          <a:p>
            <a:pPr algn="just">
              <a:lnSpc>
                <a:spcPct val="150000"/>
              </a:lnSpc>
            </a:pPr>
            <a:r>
              <a:rPr lang="en-US" dirty="0"/>
              <a:t>    In Kubernetes, controllers are control loops that watch the state of your cluster, then make or request changes where needed. Each controller tries to move the current cluster state closer to the desired state.</a:t>
            </a:r>
          </a:p>
        </p:txBody>
      </p:sp>
      <p:pic>
        <p:nvPicPr>
          <p:cNvPr id="6" name="Image 2">
            <a:extLst>
              <a:ext uri="{FF2B5EF4-FFF2-40B4-BE49-F238E27FC236}">
                <a16:creationId xmlns:a16="http://schemas.microsoft.com/office/drawing/2014/main" id="{7EBC69F1-8831-4D1F-9A77-F17E5F055642}"/>
              </a:ext>
            </a:extLst>
          </p:cNvPr>
          <p:cNvPicPr>
            <a:picLocks noChangeAspect="1"/>
          </p:cNvPicPr>
          <p:nvPr/>
        </p:nvPicPr>
        <p:blipFill>
          <a:blip r:embed="rId2"/>
          <a:stretch>
            <a:fillRect/>
          </a:stretch>
        </p:blipFill>
        <p:spPr>
          <a:xfrm>
            <a:off x="5142771" y="2002145"/>
            <a:ext cx="6094267" cy="3405733"/>
          </a:xfrm>
          <a:prstGeom prst="rect">
            <a:avLst/>
          </a:prstGeom>
        </p:spPr>
      </p:pic>
    </p:spTree>
    <p:extLst>
      <p:ext uri="{BB962C8B-B14F-4D97-AF65-F5344CB8AC3E}">
        <p14:creationId xmlns:p14="http://schemas.microsoft.com/office/powerpoint/2010/main" val="11070184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Les objets sont composés de deux éléments </a:t>
            </a:r>
          </a:p>
        </p:txBody>
      </p:sp>
      <p:pic>
        <p:nvPicPr>
          <p:cNvPr id="3" name="Google Shape;76;p16"/>
          <p:cNvPicPr preferRelativeResize="0"/>
          <p:nvPr/>
        </p:nvPicPr>
        <p:blipFill>
          <a:blip r:embed="rId2">
            <a:alphaModFix/>
          </a:blip>
          <a:stretch>
            <a:fillRect/>
          </a:stretch>
        </p:blipFill>
        <p:spPr>
          <a:xfrm>
            <a:off x="1928152" y="1522642"/>
            <a:ext cx="8259496" cy="4596467"/>
          </a:xfrm>
          <a:prstGeom prst="rect">
            <a:avLst/>
          </a:prstGeom>
          <a:noFill/>
          <a:ln>
            <a:noFill/>
          </a:ln>
        </p:spPr>
      </p:pic>
      <p:pic>
        <p:nvPicPr>
          <p:cNvPr id="4" name="Google Shape;78;p16"/>
          <p:cNvPicPr preferRelativeResize="0"/>
          <p:nvPr/>
        </p:nvPicPr>
        <p:blipFill>
          <a:blip r:embed="rId3">
            <a:alphaModFix/>
          </a:blip>
          <a:stretch>
            <a:fillRect/>
          </a:stretch>
        </p:blipFill>
        <p:spPr>
          <a:xfrm>
            <a:off x="1930951" y="1526543"/>
            <a:ext cx="8253900" cy="4589433"/>
          </a:xfrm>
          <a:prstGeom prst="rect">
            <a:avLst/>
          </a:prstGeom>
          <a:noFill/>
          <a:ln>
            <a:noFill/>
          </a:ln>
        </p:spPr>
      </p:pic>
      <p:pic>
        <p:nvPicPr>
          <p:cNvPr id="5" name="Google Shape;79;p16"/>
          <p:cNvPicPr preferRelativeResize="0"/>
          <p:nvPr/>
        </p:nvPicPr>
        <p:blipFill>
          <a:blip r:embed="rId4">
            <a:alphaModFix/>
          </a:blip>
          <a:stretch>
            <a:fillRect/>
          </a:stretch>
        </p:blipFill>
        <p:spPr>
          <a:xfrm>
            <a:off x="1952934" y="1514176"/>
            <a:ext cx="8253865" cy="4596476"/>
          </a:xfrm>
          <a:prstGeom prst="rect">
            <a:avLst/>
          </a:prstGeom>
          <a:noFill/>
          <a:ln>
            <a:noFill/>
          </a:ln>
        </p:spPr>
      </p:pic>
    </p:spTree>
    <p:extLst>
      <p:ext uri="{BB962C8B-B14F-4D97-AF65-F5344CB8AC3E}">
        <p14:creationId xmlns:p14="http://schemas.microsoft.com/office/powerpoint/2010/main" val="396714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sp>
        <p:nvSpPr>
          <p:cNvPr id="84" name="Google Shape;84;p17"/>
          <p:cNvSpPr txBox="1">
            <a:spLocks noGrp="1"/>
          </p:cNvSpPr>
          <p:nvPr>
            <p:ph type="title"/>
          </p:nvPr>
        </p:nvSpPr>
        <p:spPr>
          <a:prstGeom prst="rect">
            <a:avLst/>
          </a:prstGeom>
        </p:spPr>
        <p:txBody>
          <a:bodyPr spcFirstLastPara="1" vert="horz" wrap="square" lIns="121900" tIns="121900" rIns="121900" bIns="121900" rtlCol="0" anchor="t" anchorCtr="0">
            <a:noAutofit/>
          </a:bodyPr>
          <a:lstStyle/>
          <a:p>
            <a:r>
              <a:rPr lang="fr" sz="2800" dirty="0"/>
              <a:t>Exemple : Déclaration de 3 </a:t>
            </a:r>
            <a:r>
              <a:rPr lang="fr-FR" sz="2800" dirty="0" err="1"/>
              <a:t>pods</a:t>
            </a:r>
            <a:endParaRPr lang="fr-FR" sz="2800" dirty="0">
              <a:cs typeface="Calibri Light"/>
            </a:endParaRPr>
          </a:p>
        </p:txBody>
      </p:sp>
      <p:pic>
        <p:nvPicPr>
          <p:cNvPr id="85" name="Google Shape;85;p17"/>
          <p:cNvPicPr preferRelativeResize="0"/>
          <p:nvPr/>
        </p:nvPicPr>
        <p:blipFill>
          <a:blip r:embed="rId3">
            <a:alphaModFix/>
          </a:blip>
          <a:stretch>
            <a:fillRect/>
          </a:stretch>
        </p:blipFill>
        <p:spPr>
          <a:xfrm>
            <a:off x="3047316" y="1802767"/>
            <a:ext cx="6097368" cy="1226300"/>
          </a:xfrm>
          <a:prstGeom prst="rect">
            <a:avLst/>
          </a:prstGeom>
          <a:noFill/>
          <a:ln>
            <a:noFill/>
          </a:ln>
        </p:spPr>
      </p:pic>
      <p:pic>
        <p:nvPicPr>
          <p:cNvPr id="86" name="Google Shape;86;p17"/>
          <p:cNvPicPr preferRelativeResize="0"/>
          <p:nvPr/>
        </p:nvPicPr>
        <p:blipFill>
          <a:blip r:embed="rId4">
            <a:alphaModFix/>
          </a:blip>
          <a:stretch>
            <a:fillRect/>
          </a:stretch>
        </p:blipFill>
        <p:spPr>
          <a:xfrm>
            <a:off x="3138101" y="1708252"/>
            <a:ext cx="6006601" cy="2826633"/>
          </a:xfrm>
          <a:prstGeom prst="rect">
            <a:avLst/>
          </a:prstGeom>
          <a:noFill/>
          <a:ln>
            <a:noFill/>
          </a:ln>
        </p:spPr>
      </p:pic>
      <p:pic>
        <p:nvPicPr>
          <p:cNvPr id="87" name="Google Shape;87;p17"/>
          <p:cNvPicPr preferRelativeResize="0"/>
          <p:nvPr/>
        </p:nvPicPr>
        <p:blipFill rotWithShape="1">
          <a:blip r:embed="rId5">
            <a:alphaModFix/>
          </a:blip>
          <a:srcRect l="1590" t="4906" r="6498"/>
          <a:stretch/>
        </p:blipFill>
        <p:spPr>
          <a:xfrm>
            <a:off x="3138100" y="1770815"/>
            <a:ext cx="6006600" cy="4654284"/>
          </a:xfrm>
          <a:prstGeom prst="rect">
            <a:avLst/>
          </a:prstGeom>
          <a:noFill/>
          <a:ln>
            <a:noFill/>
          </a:ln>
        </p:spPr>
      </p:pic>
      <p:cxnSp>
        <p:nvCxnSpPr>
          <p:cNvPr id="88" name="Google Shape;88;p17"/>
          <p:cNvCxnSpPr>
            <a:stCxn id="87" idx="2"/>
            <a:endCxn id="87" idx="0"/>
          </p:cNvCxnSpPr>
          <p:nvPr/>
        </p:nvCxnSpPr>
        <p:spPr>
          <a:xfrm rot="16200000">
            <a:off x="3814600" y="4097500"/>
            <a:ext cx="4654400" cy="800"/>
          </a:xfrm>
          <a:prstGeom prst="bentConnector5">
            <a:avLst>
              <a:gd name="adj1" fmla="val -6822"/>
              <a:gd name="adj2" fmla="val 500774963"/>
              <a:gd name="adj3" fmla="val 106819"/>
            </a:avLst>
          </a:prstGeom>
          <a:noFill/>
          <a:ln w="38100" cap="flat" cmpd="sng">
            <a:solidFill>
              <a:schemeClr val="dk2"/>
            </a:solidFill>
            <a:prstDash val="solid"/>
            <a:round/>
            <a:headEnd type="none" w="med" len="med"/>
            <a:tailEnd type="none" w="med" len="med"/>
          </a:ln>
        </p:spPr>
      </p:cxnSp>
      <p:pic>
        <p:nvPicPr>
          <p:cNvPr id="89" name="Google Shape;89;p17"/>
          <p:cNvPicPr preferRelativeResize="0"/>
          <p:nvPr/>
        </p:nvPicPr>
        <p:blipFill>
          <a:blip r:embed="rId6">
            <a:alphaModFix/>
          </a:blip>
          <a:stretch>
            <a:fillRect/>
          </a:stretch>
        </p:blipFill>
        <p:spPr>
          <a:xfrm>
            <a:off x="9462201" y="3363201"/>
            <a:ext cx="1469500" cy="1469500"/>
          </a:xfrm>
          <a:prstGeom prst="rect">
            <a:avLst/>
          </a:prstGeom>
          <a:noFill/>
          <a:ln>
            <a:noFill/>
          </a:ln>
        </p:spPr>
      </p:pic>
    </p:spTree>
    <p:extLst>
      <p:ext uri="{BB962C8B-B14F-4D97-AF65-F5344CB8AC3E}">
        <p14:creationId xmlns:p14="http://schemas.microsoft.com/office/powerpoint/2010/main" val="2660931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fade">
                                      <p:cBhvr>
                                        <p:cTn id="7" dur="1000"/>
                                        <p:tgtEl>
                                          <p:spTgt spid="8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fade">
                                      <p:cBhvr>
                                        <p:cTn id="12" dur="1000"/>
                                        <p:tgtEl>
                                          <p:spTgt spid="8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7"/>
                                        </p:tgtEl>
                                        <p:attrNameLst>
                                          <p:attrName>style.visibility</p:attrName>
                                        </p:attrNameLst>
                                      </p:cBhvr>
                                      <p:to>
                                        <p:strVal val="visible"/>
                                      </p:to>
                                    </p:set>
                                    <p:animEffect transition="in" filter="fade">
                                      <p:cBhvr>
                                        <p:cTn id="17" dur="1000"/>
                                        <p:tgtEl>
                                          <p:spTgt spid="8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9"/>
                                        </p:tgtEl>
                                        <p:attrNameLst>
                                          <p:attrName>style.visibility</p:attrName>
                                        </p:attrNameLst>
                                      </p:cBhvr>
                                      <p:to>
                                        <p:strVal val="visible"/>
                                      </p:to>
                                    </p:set>
                                    <p:animEffect transition="in" filter="fade">
                                      <p:cBhvr>
                                        <p:cTn id="22" dur="1000"/>
                                        <p:tgtEl>
                                          <p:spTgt spid="89"/>
                                        </p:tgtEl>
                                      </p:cBhvr>
                                    </p:animEffect>
                                  </p:childTnLst>
                                </p:cTn>
                              </p:par>
                              <p:par>
                                <p:cTn id="23" presetID="10" presetClass="entr" presetSubtype="0" fill="hold" nodeType="withEffect">
                                  <p:stCondLst>
                                    <p:cond delay="0"/>
                                  </p:stCondLst>
                                  <p:childTnLst>
                                    <p:set>
                                      <p:cBhvr>
                                        <p:cTn id="24" dur="1" fill="hold">
                                          <p:stCondLst>
                                            <p:cond delay="0"/>
                                          </p:stCondLst>
                                        </p:cTn>
                                        <p:tgtEl>
                                          <p:spTgt spid="88"/>
                                        </p:tgtEl>
                                        <p:attrNameLst>
                                          <p:attrName>style.visibility</p:attrName>
                                        </p:attrNameLst>
                                      </p:cBhvr>
                                      <p:to>
                                        <p:strVal val="visible"/>
                                      </p:to>
                                    </p:set>
                                    <p:animEffect transition="in" filter="fade">
                                      <p:cBhvr>
                                        <p:cTn id="25" dur="10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ous-titre 3"/>
          <p:cNvSpPr>
            <a:spLocks noGrp="1"/>
          </p:cNvSpPr>
          <p:nvPr>
            <p:ph type="subTitle" idx="1"/>
          </p:nvPr>
        </p:nvSpPr>
        <p:spPr/>
        <p:txBody>
          <a:bodyPr/>
          <a:lstStyle/>
          <a:p>
            <a:endParaRPr lang="fr-FR"/>
          </a:p>
        </p:txBody>
      </p:sp>
      <p:sp>
        <p:nvSpPr>
          <p:cNvPr id="2" name="Titre 1"/>
          <p:cNvSpPr>
            <a:spLocks noGrp="1"/>
          </p:cNvSpPr>
          <p:nvPr>
            <p:ph type="title"/>
          </p:nvPr>
        </p:nvSpPr>
        <p:spPr/>
        <p:txBody>
          <a:bodyPr/>
          <a:lstStyle/>
          <a:p>
            <a:r>
              <a:rPr lang="fr-FR" dirty="0"/>
              <a:t>Les composants de </a:t>
            </a:r>
            <a:r>
              <a:rPr lang="fr-FR" dirty="0" err="1"/>
              <a:t>Kubernetes</a:t>
            </a:r>
            <a:endParaRPr lang="fr-FR" dirty="0"/>
          </a:p>
        </p:txBody>
      </p:sp>
    </p:spTree>
    <p:extLst>
      <p:ext uri="{BB962C8B-B14F-4D97-AF65-F5344CB8AC3E}">
        <p14:creationId xmlns:p14="http://schemas.microsoft.com/office/powerpoint/2010/main" val="14442836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28"/>
        <p:cNvGrpSpPr/>
        <p:nvPr/>
      </p:nvGrpSpPr>
      <p:grpSpPr>
        <a:xfrm>
          <a:off x="0" y="0"/>
          <a:ext cx="0" cy="0"/>
          <a:chOff x="0" y="0"/>
          <a:chExt cx="0" cy="0"/>
        </a:xfrm>
      </p:grpSpPr>
      <p:sp>
        <p:nvSpPr>
          <p:cNvPr id="129" name="Google Shape;129;p23"/>
          <p:cNvSpPr txBox="1">
            <a:spLocks noGrp="1"/>
          </p:cNvSpPr>
          <p:nvPr>
            <p:ph type="title"/>
          </p:nvPr>
        </p:nvSpPr>
        <p:spPr>
          <a:prstGeom prst="rect">
            <a:avLst/>
          </a:prstGeom>
        </p:spPr>
        <p:txBody>
          <a:bodyPr spcFirstLastPara="1" vert="horz" wrap="square" lIns="121900" tIns="121900" rIns="121900" bIns="121900" rtlCol="0" anchor="t" anchorCtr="0">
            <a:noAutofit/>
          </a:bodyPr>
          <a:lstStyle/>
          <a:p>
            <a:r>
              <a:rPr lang="fr-FR" sz="3700" dirty="0">
                <a:solidFill>
                  <a:srgbClr val="202020"/>
                </a:solidFill>
                <a:highlight>
                  <a:srgbClr val="FFFFFF"/>
                </a:highlight>
                <a:latin typeface="Roboto"/>
                <a:ea typeface="Roboto"/>
                <a:cs typeface="Roboto"/>
              </a:rPr>
              <a:t>Les composants de bases</a:t>
            </a:r>
          </a:p>
        </p:txBody>
      </p:sp>
      <p:pic>
        <p:nvPicPr>
          <p:cNvPr id="130" name="Google Shape;130;p23"/>
          <p:cNvPicPr preferRelativeResize="0"/>
          <p:nvPr/>
        </p:nvPicPr>
        <p:blipFill>
          <a:blip r:embed="rId3">
            <a:alphaModFix/>
          </a:blip>
          <a:stretch>
            <a:fillRect/>
          </a:stretch>
        </p:blipFill>
        <p:spPr>
          <a:xfrm>
            <a:off x="6469389" y="1879634"/>
            <a:ext cx="5498344" cy="4207765"/>
          </a:xfrm>
          <a:prstGeom prst="rect">
            <a:avLst/>
          </a:prstGeom>
          <a:noFill/>
          <a:ln>
            <a:noFill/>
          </a:ln>
        </p:spPr>
      </p:pic>
      <p:sp>
        <p:nvSpPr>
          <p:cNvPr id="131" name="Google Shape;131;p23"/>
          <p:cNvSpPr txBox="1"/>
          <p:nvPr/>
        </p:nvSpPr>
        <p:spPr>
          <a:xfrm>
            <a:off x="1252667" y="1945267"/>
            <a:ext cx="5740400" cy="873600"/>
          </a:xfrm>
          <a:prstGeom prst="rect">
            <a:avLst/>
          </a:prstGeom>
          <a:noFill/>
          <a:ln>
            <a:noFill/>
          </a:ln>
        </p:spPr>
        <p:txBody>
          <a:bodyPr spcFirstLastPara="1" wrap="square" lIns="121900" tIns="121900" rIns="121900" bIns="121900" anchor="t" anchorCtr="0">
            <a:noAutofit/>
          </a:bodyPr>
          <a:lstStyle/>
          <a:p>
            <a:r>
              <a:rPr lang="fr" sz="2700" dirty="0"/>
              <a:t>Datastore : ETCD</a:t>
            </a:r>
            <a:endParaRPr sz="2700" dirty="0"/>
          </a:p>
        </p:txBody>
      </p:sp>
      <p:sp>
        <p:nvSpPr>
          <p:cNvPr id="132" name="Google Shape;132;p23"/>
          <p:cNvSpPr txBox="1"/>
          <p:nvPr/>
        </p:nvSpPr>
        <p:spPr>
          <a:xfrm>
            <a:off x="1252667" y="2979533"/>
            <a:ext cx="5818400" cy="873600"/>
          </a:xfrm>
          <a:prstGeom prst="rect">
            <a:avLst/>
          </a:prstGeom>
          <a:noFill/>
          <a:ln>
            <a:noFill/>
          </a:ln>
        </p:spPr>
        <p:txBody>
          <a:bodyPr spcFirstLastPara="1" wrap="square" lIns="121900" tIns="121900" rIns="121900" bIns="121900" anchor="t" anchorCtr="0">
            <a:noAutofit/>
          </a:bodyPr>
          <a:lstStyle/>
          <a:p>
            <a:r>
              <a:rPr lang="fr" sz="2700" dirty="0"/>
              <a:t>Policy Layer: API Server</a:t>
            </a:r>
            <a:endParaRPr dirty="0"/>
          </a:p>
        </p:txBody>
      </p:sp>
      <p:sp>
        <p:nvSpPr>
          <p:cNvPr id="133" name="Google Shape;133;p23"/>
          <p:cNvSpPr txBox="1"/>
          <p:nvPr/>
        </p:nvSpPr>
        <p:spPr>
          <a:xfrm>
            <a:off x="1279933" y="4066133"/>
            <a:ext cx="5740400" cy="873600"/>
          </a:xfrm>
          <a:prstGeom prst="rect">
            <a:avLst/>
          </a:prstGeom>
          <a:noFill/>
          <a:ln>
            <a:noFill/>
          </a:ln>
        </p:spPr>
        <p:txBody>
          <a:bodyPr spcFirstLastPara="1" wrap="square" lIns="121900" tIns="121900" rIns="121900" bIns="121900" anchor="t" anchorCtr="0">
            <a:noAutofit/>
          </a:bodyPr>
          <a:lstStyle/>
          <a:p>
            <a:r>
              <a:rPr lang="fr" sz="2700"/>
              <a:t>Business logic: </a:t>
            </a:r>
            <a:endParaRPr sz="2700"/>
          </a:p>
          <a:p>
            <a:r>
              <a:rPr lang="fr" sz="2700"/>
              <a:t>Controller manager and scheduler</a:t>
            </a:r>
            <a:endParaRPr/>
          </a:p>
        </p:txBody>
      </p:sp>
      <p:sp>
        <p:nvSpPr>
          <p:cNvPr id="134" name="Google Shape;134;p23"/>
          <p:cNvSpPr txBox="1"/>
          <p:nvPr/>
        </p:nvSpPr>
        <p:spPr>
          <a:xfrm>
            <a:off x="1279933" y="5181967"/>
            <a:ext cx="5740400" cy="873600"/>
          </a:xfrm>
          <a:prstGeom prst="rect">
            <a:avLst/>
          </a:prstGeom>
          <a:noFill/>
          <a:ln>
            <a:noFill/>
          </a:ln>
        </p:spPr>
        <p:txBody>
          <a:bodyPr spcFirstLastPara="1" wrap="square" lIns="121900" tIns="121900" rIns="121900" bIns="121900" anchor="t" anchorCtr="0">
            <a:noAutofit/>
          </a:bodyPr>
          <a:lstStyle/>
          <a:p>
            <a:pPr>
              <a:lnSpc>
                <a:spcPct val="140000"/>
              </a:lnSpc>
              <a:spcBef>
                <a:spcPts val="1867"/>
              </a:spcBef>
              <a:buClr>
                <a:schemeClr val="dk1"/>
              </a:buClr>
              <a:buSzPts val="1100"/>
            </a:pPr>
            <a:r>
              <a:rPr lang="fr" sz="2700"/>
              <a:t>Node agent: Kubelet</a:t>
            </a:r>
            <a:endParaRPr sz="2600" b="1">
              <a:solidFill>
                <a:srgbClr val="2C2960"/>
              </a:solidFill>
              <a:highlight>
                <a:srgbClr val="FFFFFF"/>
              </a:highlight>
              <a:latin typeface="Roboto"/>
              <a:ea typeface="Roboto"/>
              <a:cs typeface="Roboto"/>
              <a:sym typeface="Roboto"/>
            </a:endParaRPr>
          </a:p>
          <a:p>
            <a:pPr>
              <a:spcBef>
                <a:spcPts val="533"/>
              </a:spcBef>
            </a:pPr>
            <a:endParaRPr/>
          </a:p>
        </p:txBody>
      </p:sp>
      <p:sp>
        <p:nvSpPr>
          <p:cNvPr id="135" name="Google Shape;135;p23"/>
          <p:cNvSpPr/>
          <p:nvPr/>
        </p:nvSpPr>
        <p:spPr>
          <a:xfrm>
            <a:off x="661133" y="2046867"/>
            <a:ext cx="591600" cy="524400"/>
          </a:xfrm>
          <a:prstGeom prst="flowChartConnector">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a:p>
        </p:txBody>
      </p:sp>
      <p:sp>
        <p:nvSpPr>
          <p:cNvPr id="136" name="Google Shape;136;p23"/>
          <p:cNvSpPr/>
          <p:nvPr/>
        </p:nvSpPr>
        <p:spPr>
          <a:xfrm>
            <a:off x="661133" y="3067833"/>
            <a:ext cx="591600" cy="524400"/>
          </a:xfrm>
          <a:prstGeom prst="flowChartConnector">
            <a:avLst/>
          </a:prstGeom>
          <a:solidFill>
            <a:srgbClr val="4A86E8"/>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a:p>
        </p:txBody>
      </p:sp>
      <p:sp>
        <p:nvSpPr>
          <p:cNvPr id="137" name="Google Shape;137;p23"/>
          <p:cNvSpPr/>
          <p:nvPr/>
        </p:nvSpPr>
        <p:spPr>
          <a:xfrm>
            <a:off x="661133" y="4261400"/>
            <a:ext cx="591600" cy="524400"/>
          </a:xfrm>
          <a:prstGeom prst="flowChartConnector">
            <a:avLst/>
          </a:prstGeom>
          <a:solidFill>
            <a:srgbClr val="FF00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a:p>
        </p:txBody>
      </p:sp>
      <p:sp>
        <p:nvSpPr>
          <p:cNvPr id="138" name="Google Shape;138;p23"/>
          <p:cNvSpPr/>
          <p:nvPr/>
        </p:nvSpPr>
        <p:spPr>
          <a:xfrm>
            <a:off x="661133" y="5563000"/>
            <a:ext cx="591600" cy="524400"/>
          </a:xfrm>
          <a:prstGeom prst="flowChartConnector">
            <a:avLst/>
          </a:prstGeom>
          <a:solidFill>
            <a:srgbClr val="FF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a:p>
        </p:txBody>
      </p:sp>
    </p:spTree>
    <p:extLst>
      <p:ext uri="{BB962C8B-B14F-4D97-AF65-F5344CB8AC3E}">
        <p14:creationId xmlns:p14="http://schemas.microsoft.com/office/powerpoint/2010/main" val="3289766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5"/>
                                        </p:tgtEl>
                                        <p:attrNameLst>
                                          <p:attrName>style.visibility</p:attrName>
                                        </p:attrNameLst>
                                      </p:cBhvr>
                                      <p:to>
                                        <p:strVal val="visible"/>
                                      </p:to>
                                    </p:set>
                                    <p:animEffect transition="in" filter="fade">
                                      <p:cBhvr>
                                        <p:cTn id="7" dur="1000"/>
                                        <p:tgtEl>
                                          <p:spTgt spid="135"/>
                                        </p:tgtEl>
                                      </p:cBhvr>
                                    </p:animEffect>
                                  </p:childTnLst>
                                </p:cTn>
                              </p:par>
                              <p:par>
                                <p:cTn id="8" presetID="10" presetClass="entr" presetSubtype="0" fill="hold" nodeType="withEffect">
                                  <p:stCondLst>
                                    <p:cond delay="0"/>
                                  </p:stCondLst>
                                  <p:childTnLst>
                                    <p:set>
                                      <p:cBhvr>
                                        <p:cTn id="9" dur="1" fill="hold">
                                          <p:stCondLst>
                                            <p:cond delay="0"/>
                                          </p:stCondLst>
                                        </p:cTn>
                                        <p:tgtEl>
                                          <p:spTgt spid="131"/>
                                        </p:tgtEl>
                                        <p:attrNameLst>
                                          <p:attrName>style.visibility</p:attrName>
                                        </p:attrNameLst>
                                      </p:cBhvr>
                                      <p:to>
                                        <p:strVal val="visible"/>
                                      </p:to>
                                    </p:set>
                                    <p:animEffect transition="in" filter="fade">
                                      <p:cBhvr>
                                        <p:cTn id="10" dur="1000"/>
                                        <p:tgtEl>
                                          <p:spTgt spid="13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36"/>
                                        </p:tgtEl>
                                        <p:attrNameLst>
                                          <p:attrName>style.visibility</p:attrName>
                                        </p:attrNameLst>
                                      </p:cBhvr>
                                      <p:to>
                                        <p:strVal val="visible"/>
                                      </p:to>
                                    </p:set>
                                    <p:animEffect transition="in" filter="fade">
                                      <p:cBhvr>
                                        <p:cTn id="15" dur="1000"/>
                                        <p:tgtEl>
                                          <p:spTgt spid="136"/>
                                        </p:tgtEl>
                                      </p:cBhvr>
                                    </p:animEffect>
                                  </p:childTnLst>
                                </p:cTn>
                              </p:par>
                              <p:par>
                                <p:cTn id="16" presetID="10" presetClass="entr" presetSubtype="0" fill="hold" nodeType="withEffect">
                                  <p:stCondLst>
                                    <p:cond delay="0"/>
                                  </p:stCondLst>
                                  <p:childTnLst>
                                    <p:set>
                                      <p:cBhvr>
                                        <p:cTn id="17" dur="1" fill="hold">
                                          <p:stCondLst>
                                            <p:cond delay="0"/>
                                          </p:stCondLst>
                                        </p:cTn>
                                        <p:tgtEl>
                                          <p:spTgt spid="132"/>
                                        </p:tgtEl>
                                        <p:attrNameLst>
                                          <p:attrName>style.visibility</p:attrName>
                                        </p:attrNameLst>
                                      </p:cBhvr>
                                      <p:to>
                                        <p:strVal val="visible"/>
                                      </p:to>
                                    </p:set>
                                    <p:animEffect transition="in" filter="fade">
                                      <p:cBhvr>
                                        <p:cTn id="18" dur="1000"/>
                                        <p:tgtEl>
                                          <p:spTgt spid="1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37"/>
                                        </p:tgtEl>
                                        <p:attrNameLst>
                                          <p:attrName>style.visibility</p:attrName>
                                        </p:attrNameLst>
                                      </p:cBhvr>
                                      <p:to>
                                        <p:strVal val="visible"/>
                                      </p:to>
                                    </p:set>
                                    <p:animEffect transition="in" filter="fade">
                                      <p:cBhvr>
                                        <p:cTn id="23" dur="1000"/>
                                        <p:tgtEl>
                                          <p:spTgt spid="137"/>
                                        </p:tgtEl>
                                      </p:cBhvr>
                                    </p:animEffect>
                                  </p:childTnLst>
                                </p:cTn>
                              </p:par>
                              <p:par>
                                <p:cTn id="24" presetID="10" presetClass="entr" presetSubtype="0" fill="hold" nodeType="withEffect">
                                  <p:stCondLst>
                                    <p:cond delay="0"/>
                                  </p:stCondLst>
                                  <p:childTnLst>
                                    <p:set>
                                      <p:cBhvr>
                                        <p:cTn id="25" dur="1" fill="hold">
                                          <p:stCondLst>
                                            <p:cond delay="0"/>
                                          </p:stCondLst>
                                        </p:cTn>
                                        <p:tgtEl>
                                          <p:spTgt spid="133"/>
                                        </p:tgtEl>
                                        <p:attrNameLst>
                                          <p:attrName>style.visibility</p:attrName>
                                        </p:attrNameLst>
                                      </p:cBhvr>
                                      <p:to>
                                        <p:strVal val="visible"/>
                                      </p:to>
                                    </p:set>
                                    <p:animEffect transition="in" filter="fade">
                                      <p:cBhvr>
                                        <p:cTn id="26" dur="1000"/>
                                        <p:tgtEl>
                                          <p:spTgt spid="13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8"/>
                                        </p:tgtEl>
                                        <p:attrNameLst>
                                          <p:attrName>style.visibility</p:attrName>
                                        </p:attrNameLst>
                                      </p:cBhvr>
                                      <p:to>
                                        <p:strVal val="visible"/>
                                      </p:to>
                                    </p:set>
                                    <p:animEffect transition="in" filter="fade">
                                      <p:cBhvr>
                                        <p:cTn id="31" dur="1000"/>
                                        <p:tgtEl>
                                          <p:spTgt spid="138"/>
                                        </p:tgtEl>
                                      </p:cBhvr>
                                    </p:animEffect>
                                  </p:childTnLst>
                                </p:cTn>
                              </p:par>
                              <p:par>
                                <p:cTn id="32" presetID="10" presetClass="entr" presetSubtype="0" fill="hold" nodeType="withEffect">
                                  <p:stCondLst>
                                    <p:cond delay="0"/>
                                  </p:stCondLst>
                                  <p:childTnLst>
                                    <p:set>
                                      <p:cBhvr>
                                        <p:cTn id="33" dur="1" fill="hold">
                                          <p:stCondLst>
                                            <p:cond delay="0"/>
                                          </p:stCondLst>
                                        </p:cTn>
                                        <p:tgtEl>
                                          <p:spTgt spid="134"/>
                                        </p:tgtEl>
                                        <p:attrNameLst>
                                          <p:attrName>style.visibility</p:attrName>
                                        </p:attrNameLst>
                                      </p:cBhvr>
                                      <p:to>
                                        <p:strVal val="visible"/>
                                      </p:to>
                                    </p:set>
                                    <p:animEffect transition="in" filter="fade">
                                      <p:cBhvr>
                                        <p:cTn id="34" dur="1000"/>
                                        <p:tgtEl>
                                          <p:spTgt spid="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42"/>
        <p:cNvGrpSpPr/>
        <p:nvPr/>
      </p:nvGrpSpPr>
      <p:grpSpPr>
        <a:xfrm>
          <a:off x="0" y="0"/>
          <a:ext cx="0" cy="0"/>
          <a:chOff x="0" y="0"/>
          <a:chExt cx="0" cy="0"/>
        </a:xfrm>
      </p:grpSpPr>
      <p:sp>
        <p:nvSpPr>
          <p:cNvPr id="144" name="Google Shape;144;p24"/>
          <p:cNvSpPr txBox="1">
            <a:spLocks noGrp="1"/>
          </p:cNvSpPr>
          <p:nvPr>
            <p:ph type="body" idx="1"/>
          </p:nvPr>
        </p:nvSpPr>
        <p:spPr>
          <a:xfrm>
            <a:off x="-194000" y="1536633"/>
            <a:ext cx="3663200" cy="4855600"/>
          </a:xfrm>
          <a:prstGeom prst="rect">
            <a:avLst/>
          </a:prstGeom>
        </p:spPr>
        <p:txBody>
          <a:bodyPr spcFirstLastPara="1" vert="horz" wrap="square" lIns="121900" tIns="121900" rIns="121900" bIns="121900" rtlCol="0" anchor="t" anchorCtr="0">
            <a:noAutofit/>
          </a:bodyPr>
          <a:lstStyle/>
          <a:p>
            <a:pPr marL="982109" indent="-380990">
              <a:lnSpc>
                <a:spcPct val="150000"/>
              </a:lnSpc>
              <a:buClr>
                <a:srgbClr val="202020"/>
              </a:buClr>
              <a:buSzPts val="900"/>
              <a:buFont typeface="Roboto"/>
              <a:buAutoNum type="arabicPeriod"/>
            </a:pPr>
            <a:r>
              <a:rPr lang="fr" sz="1200">
                <a:solidFill>
                  <a:srgbClr val="202020"/>
                </a:solidFill>
                <a:highlight>
                  <a:srgbClr val="FFFFFF"/>
                </a:highlight>
                <a:latin typeface="Roboto"/>
                <a:ea typeface="Roboto"/>
                <a:cs typeface="Roboto"/>
                <a:sym typeface="Roboto"/>
              </a:rPr>
              <a:t>The user creates a Pod via the API Server and the API server writes it to etcd.</a:t>
            </a:r>
            <a:endParaRPr sz="1200">
              <a:solidFill>
                <a:srgbClr val="202020"/>
              </a:solidFill>
              <a:highlight>
                <a:srgbClr val="FFFFFF"/>
              </a:highlight>
              <a:latin typeface="Roboto"/>
              <a:ea typeface="Roboto"/>
              <a:cs typeface="Roboto"/>
              <a:sym typeface="Roboto"/>
            </a:endParaRPr>
          </a:p>
          <a:p>
            <a:pPr marL="982109" indent="-380990">
              <a:lnSpc>
                <a:spcPct val="150000"/>
              </a:lnSpc>
              <a:buClr>
                <a:srgbClr val="202020"/>
              </a:buClr>
              <a:buSzPts val="900"/>
              <a:buFont typeface="Roboto"/>
              <a:buAutoNum type="arabicPeriod"/>
            </a:pPr>
            <a:r>
              <a:rPr lang="fr" sz="1200">
                <a:solidFill>
                  <a:srgbClr val="202020"/>
                </a:solidFill>
                <a:highlight>
                  <a:srgbClr val="FFFFFF"/>
                </a:highlight>
                <a:latin typeface="Roboto"/>
                <a:ea typeface="Roboto"/>
                <a:cs typeface="Roboto"/>
                <a:sym typeface="Roboto"/>
              </a:rPr>
              <a:t>The scheduler notices an “unbound” Pod and decides which node to run that Pod on. It writes that binding back to the API Server.</a:t>
            </a:r>
            <a:endParaRPr sz="1200">
              <a:solidFill>
                <a:srgbClr val="202020"/>
              </a:solidFill>
              <a:highlight>
                <a:srgbClr val="FFFFFF"/>
              </a:highlight>
              <a:latin typeface="Roboto"/>
              <a:ea typeface="Roboto"/>
              <a:cs typeface="Roboto"/>
              <a:sym typeface="Roboto"/>
            </a:endParaRPr>
          </a:p>
          <a:p>
            <a:pPr marL="982109" indent="-380990">
              <a:lnSpc>
                <a:spcPct val="150000"/>
              </a:lnSpc>
              <a:buClr>
                <a:srgbClr val="202020"/>
              </a:buClr>
              <a:buSzPts val="900"/>
              <a:buFont typeface="Roboto"/>
              <a:buAutoNum type="arabicPeriod"/>
            </a:pPr>
            <a:r>
              <a:rPr lang="fr" sz="1200">
                <a:solidFill>
                  <a:srgbClr val="202020"/>
                </a:solidFill>
                <a:highlight>
                  <a:srgbClr val="FFFFFF"/>
                </a:highlight>
                <a:latin typeface="Roboto"/>
                <a:ea typeface="Roboto"/>
                <a:cs typeface="Roboto"/>
                <a:sym typeface="Roboto"/>
              </a:rPr>
              <a:t>The Kubelet notices a change in the set of Pods that are bound to its node. It, in turn, runs the container via the container runtime (i.e. Docker).</a:t>
            </a:r>
            <a:endParaRPr sz="1200">
              <a:solidFill>
                <a:srgbClr val="202020"/>
              </a:solidFill>
              <a:highlight>
                <a:srgbClr val="FFFFFF"/>
              </a:highlight>
              <a:latin typeface="Roboto"/>
              <a:ea typeface="Roboto"/>
              <a:cs typeface="Roboto"/>
              <a:sym typeface="Roboto"/>
            </a:endParaRPr>
          </a:p>
          <a:p>
            <a:pPr marL="982109" indent="-380990">
              <a:lnSpc>
                <a:spcPct val="150000"/>
              </a:lnSpc>
              <a:buClr>
                <a:srgbClr val="202020"/>
              </a:buClr>
              <a:buSzPts val="900"/>
              <a:buFont typeface="Roboto"/>
              <a:buAutoNum type="arabicPeriod"/>
            </a:pPr>
            <a:r>
              <a:rPr lang="fr" sz="1200">
                <a:solidFill>
                  <a:srgbClr val="202020"/>
                </a:solidFill>
                <a:highlight>
                  <a:srgbClr val="FFFFFF"/>
                </a:highlight>
                <a:latin typeface="Roboto"/>
                <a:ea typeface="Roboto"/>
                <a:cs typeface="Roboto"/>
                <a:sym typeface="Roboto"/>
              </a:rPr>
              <a:t>The Kubelet monitors the status of the Pod via the container runtime. As things change, the Kubelet will reflect the current status back to the API Server.</a:t>
            </a:r>
            <a:endParaRPr sz="1200">
              <a:solidFill>
                <a:srgbClr val="202020"/>
              </a:solidFill>
              <a:highlight>
                <a:srgbClr val="FFFFFF"/>
              </a:highlight>
              <a:latin typeface="Roboto"/>
              <a:ea typeface="Roboto"/>
              <a:cs typeface="Roboto"/>
              <a:sym typeface="Roboto"/>
            </a:endParaRPr>
          </a:p>
          <a:p>
            <a:pPr marL="0" indent="0">
              <a:spcBef>
                <a:spcPts val="2400"/>
              </a:spcBef>
              <a:spcAft>
                <a:spcPts val="2133"/>
              </a:spcAft>
              <a:buNone/>
            </a:pPr>
            <a:endParaRPr sz="1200"/>
          </a:p>
        </p:txBody>
      </p:sp>
      <p:pic>
        <p:nvPicPr>
          <p:cNvPr id="145" name="Google Shape;145;p24"/>
          <p:cNvPicPr preferRelativeResize="0"/>
          <p:nvPr/>
        </p:nvPicPr>
        <p:blipFill>
          <a:blip r:embed="rId3">
            <a:alphaModFix/>
          </a:blip>
          <a:stretch>
            <a:fillRect/>
          </a:stretch>
        </p:blipFill>
        <p:spPr>
          <a:xfrm>
            <a:off x="4109303" y="1919660"/>
            <a:ext cx="7272820" cy="4407377"/>
          </a:xfrm>
          <a:prstGeom prst="rect">
            <a:avLst/>
          </a:prstGeom>
          <a:noFill/>
          <a:ln>
            <a:noFill/>
          </a:ln>
        </p:spPr>
      </p:pic>
      <p:sp>
        <p:nvSpPr>
          <p:cNvPr id="2" name="Google Shape;129;p23">
            <a:extLst>
              <a:ext uri="{FF2B5EF4-FFF2-40B4-BE49-F238E27FC236}">
                <a16:creationId xmlns:a16="http://schemas.microsoft.com/office/drawing/2014/main" id="{7882C5B4-FFB5-4AC8-BC05-31C7CA642F9F}"/>
              </a:ext>
            </a:extLst>
          </p:cNvPr>
          <p:cNvSpPr txBox="1">
            <a:spLocks/>
          </p:cNvSpPr>
          <p:nvPr/>
        </p:nvSpPr>
        <p:spPr>
          <a:xfrm>
            <a:off x="618800" y="418523"/>
            <a:ext cx="11360800" cy="763600"/>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SzPts val="1100"/>
            </a:pPr>
            <a:r>
              <a:rPr lang="fr-FR">
                <a:solidFill>
                  <a:schemeClr val="tx1"/>
                </a:solidFill>
              </a:rPr>
              <a:t>Un flux typique qui planifie et exécute un </a:t>
            </a:r>
            <a:r>
              <a:rPr lang="fr-FR" err="1">
                <a:solidFill>
                  <a:schemeClr val="tx1"/>
                </a:solidFill>
              </a:rPr>
              <a:t>pod</a:t>
            </a:r>
            <a:r>
              <a:rPr lang="fr-FR">
                <a:solidFill>
                  <a:schemeClr val="tx1"/>
                </a:solidFill>
              </a:rPr>
              <a:t>.</a:t>
            </a:r>
          </a:p>
          <a:p>
            <a:endParaRPr lang="fr-FR" sz="1800">
              <a:solidFill>
                <a:schemeClr val="tx1"/>
              </a:solidFill>
              <a:latin typeface="Roboto"/>
              <a:ea typeface="Roboto"/>
              <a:cs typeface="Roboto"/>
            </a:endParaRPr>
          </a:p>
        </p:txBody>
      </p:sp>
    </p:spTree>
    <p:extLst>
      <p:ext uri="{BB962C8B-B14F-4D97-AF65-F5344CB8AC3E}">
        <p14:creationId xmlns:p14="http://schemas.microsoft.com/office/powerpoint/2010/main" val="24303441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6EEFB7F-64F6-4DF1-833C-18C86100AA7E}"/>
              </a:ext>
            </a:extLst>
          </p:cNvPr>
          <p:cNvSpPr>
            <a:spLocks noGrp="1"/>
          </p:cNvSpPr>
          <p:nvPr>
            <p:ph type="title"/>
          </p:nvPr>
        </p:nvSpPr>
        <p:spPr/>
        <p:txBody>
          <a:bodyPr/>
          <a:lstStyle/>
          <a:p>
            <a:r>
              <a:rPr lang="fr-FR"/>
              <a:t>Questions</a:t>
            </a:r>
          </a:p>
        </p:txBody>
      </p:sp>
      <p:sp>
        <p:nvSpPr>
          <p:cNvPr id="3" name="Espace réservé du texte 2">
            <a:extLst>
              <a:ext uri="{FF2B5EF4-FFF2-40B4-BE49-F238E27FC236}">
                <a16:creationId xmlns:a16="http://schemas.microsoft.com/office/drawing/2014/main" id="{52F6A2F5-8B1D-4FB1-B760-82A1ADFFD8B9}"/>
              </a:ext>
            </a:extLst>
          </p:cNvPr>
          <p:cNvSpPr>
            <a:spLocks noGrp="1"/>
          </p:cNvSpPr>
          <p:nvPr>
            <p:ph type="body" idx="1"/>
          </p:nvPr>
        </p:nvSpPr>
        <p:spPr/>
        <p:txBody>
          <a:bodyPr/>
          <a:lstStyle/>
          <a:p>
            <a:pPr marL="608965" indent="-456565"/>
            <a:endParaRPr lang="fr-FR"/>
          </a:p>
          <a:p>
            <a:pPr marL="608965" indent="-456565"/>
            <a:r>
              <a:rPr lang="fr-FR"/>
              <a:t>Quel est l’avantage d'une configuration déclarative ?</a:t>
            </a:r>
            <a:endParaRPr lang="en-US">
              <a:cs typeface="Calibri"/>
            </a:endParaRPr>
          </a:p>
          <a:p>
            <a:pPr marL="608965" indent="-456565"/>
            <a:endParaRPr lang="fr-FR"/>
          </a:p>
          <a:p>
            <a:pPr marL="608965" indent="-456565"/>
            <a:r>
              <a:rPr lang="fr-FR"/>
              <a:t>Quelle est la différence entre un </a:t>
            </a:r>
            <a:r>
              <a:rPr lang="fr-FR" err="1"/>
              <a:t>pod</a:t>
            </a:r>
            <a:r>
              <a:rPr lang="fr-FR"/>
              <a:t> et un container ?</a:t>
            </a:r>
            <a:endParaRPr lang="fr-FR">
              <a:cs typeface="Calibri"/>
            </a:endParaRPr>
          </a:p>
          <a:p>
            <a:pPr marL="608965" indent="-456565"/>
            <a:endParaRPr lang="fr-FR"/>
          </a:p>
          <a:p>
            <a:pPr marL="608965" indent="-456565"/>
            <a:endParaRPr lang="fr-FR">
              <a:cs typeface="Calibri" panose="020F0502020204030204"/>
            </a:endParaRPr>
          </a:p>
        </p:txBody>
      </p:sp>
    </p:spTree>
    <p:extLst>
      <p:ext uri="{BB962C8B-B14F-4D97-AF65-F5344CB8AC3E}">
        <p14:creationId xmlns:p14="http://schemas.microsoft.com/office/powerpoint/2010/main" val="7932186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p:txBody>
          <a:bodyPr/>
          <a:lstStyle/>
          <a:p>
            <a:r>
              <a:rPr lang="en-US" dirty="0"/>
              <a:t>Node, Pod, Deployment, Service</a:t>
            </a:r>
          </a:p>
          <a:p>
            <a:endParaRPr lang="en-GB" dirty="0"/>
          </a:p>
        </p:txBody>
      </p:sp>
      <p:sp>
        <p:nvSpPr>
          <p:cNvPr id="4" name="Title 3"/>
          <p:cNvSpPr>
            <a:spLocks noGrp="1"/>
          </p:cNvSpPr>
          <p:nvPr>
            <p:ph type="title"/>
          </p:nvPr>
        </p:nvSpPr>
        <p:spPr/>
        <p:txBody>
          <a:bodyPr/>
          <a:lstStyle/>
          <a:p>
            <a:r>
              <a:rPr lang="en-GB" dirty="0"/>
              <a:t>Concepts clefs de </a:t>
            </a:r>
            <a:r>
              <a:rPr lang="en-GB"/>
              <a:t>K8S</a:t>
            </a:r>
            <a:endParaRPr lang="en-GB" dirty="0"/>
          </a:p>
        </p:txBody>
      </p:sp>
    </p:spTree>
    <p:extLst>
      <p:ext uri="{BB962C8B-B14F-4D97-AF65-F5344CB8AC3E}">
        <p14:creationId xmlns:p14="http://schemas.microsoft.com/office/powerpoint/2010/main" val="39420906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Worker Node</a:t>
            </a:r>
            <a:endParaRPr lang="en-GB" dirty="0"/>
          </a:p>
        </p:txBody>
      </p:sp>
      <p:sp>
        <p:nvSpPr>
          <p:cNvPr id="5" name="Text Placeholder 4"/>
          <p:cNvSpPr>
            <a:spLocks noGrp="1"/>
          </p:cNvSpPr>
          <p:nvPr>
            <p:ph type="body" sz="quarter" idx="10"/>
          </p:nvPr>
        </p:nvSpPr>
        <p:spPr/>
        <p:txBody>
          <a:bodyPr/>
          <a:lstStyle/>
          <a:p>
            <a:pPr lvl="1"/>
            <a:endParaRPr lang="en-US" dirty="0"/>
          </a:p>
          <a:p>
            <a:endParaRPr lang="en-GB" dirty="0"/>
          </a:p>
        </p:txBody>
      </p:sp>
      <p:sp>
        <p:nvSpPr>
          <p:cNvPr id="7" name="Google Shape;161;p20">
            <a:extLst>
              <a:ext uri="{FF2B5EF4-FFF2-40B4-BE49-F238E27FC236}">
                <a16:creationId xmlns:a16="http://schemas.microsoft.com/office/drawing/2014/main" id="{9C8F29B4-0EC7-4D72-9145-D48BCA33B2A9}"/>
              </a:ext>
            </a:extLst>
          </p:cNvPr>
          <p:cNvSpPr txBox="1"/>
          <p:nvPr/>
        </p:nvSpPr>
        <p:spPr>
          <a:xfrm>
            <a:off x="5277956" y="809835"/>
            <a:ext cx="6258600" cy="1411515"/>
          </a:xfrm>
          <a:prstGeom prst="rect">
            <a:avLst/>
          </a:prstGeom>
          <a:solidFill>
            <a:srgbClr val="D9EAD3"/>
          </a:solidFill>
          <a:ln w="19050" cap="flat" cmpd="sng">
            <a:solidFill>
              <a:srgbClr val="000000"/>
            </a:solidFill>
            <a:prstDash val="solid"/>
            <a:round/>
            <a:headEnd type="none" w="sm" len="sm"/>
            <a:tailEnd type="none" w="sm" len="sm"/>
          </a:ln>
        </p:spPr>
        <p:txBody>
          <a:bodyPr spcFirstLastPara="1" wrap="square" lIns="91425" tIns="91425" rIns="91425" bIns="91425" anchor="t" anchorCtr="0">
            <a:noAutofit/>
          </a:bodyPr>
          <a:lstStyle/>
          <a:p>
            <a:pPr marL="457200" lvl="0" indent="-317500" algn="l" rtl="0">
              <a:spcBef>
                <a:spcPts val="0"/>
              </a:spcBef>
              <a:spcAft>
                <a:spcPts val="0"/>
              </a:spcAft>
              <a:buSzPts val="1400"/>
              <a:buFont typeface="Lato"/>
              <a:buChar char="●"/>
            </a:pPr>
            <a:r>
              <a:rPr lang="fr-FR" dirty="0">
                <a:latin typeface="Lato"/>
                <a:ea typeface="Lato"/>
                <a:cs typeface="Lato"/>
                <a:sym typeface="Lato"/>
              </a:rPr>
              <a:t>L’agent principal sur le </a:t>
            </a:r>
            <a:r>
              <a:rPr lang="fr-FR" dirty="0" err="1">
                <a:latin typeface="Lato"/>
                <a:ea typeface="Lato"/>
                <a:cs typeface="Lato"/>
                <a:sym typeface="Lato"/>
              </a:rPr>
              <a:t>worker</a:t>
            </a:r>
            <a:r>
              <a:rPr lang="fr-FR" dirty="0">
                <a:latin typeface="Lato"/>
                <a:ea typeface="Lato"/>
                <a:cs typeface="Lato"/>
                <a:sym typeface="Lato"/>
              </a:rPr>
              <a:t> </a:t>
            </a:r>
            <a:r>
              <a:rPr lang="fr-FR" dirty="0" err="1">
                <a:latin typeface="Lato"/>
                <a:ea typeface="Lato"/>
                <a:cs typeface="Lato"/>
                <a:sym typeface="Lato"/>
              </a:rPr>
              <a:t>node</a:t>
            </a:r>
            <a:endParaRPr dirty="0">
              <a:latin typeface="Lato"/>
              <a:ea typeface="Lato"/>
              <a:cs typeface="Lato"/>
              <a:sym typeface="Lato"/>
            </a:endParaRPr>
          </a:p>
          <a:p>
            <a:pPr marL="457200" lvl="0" indent="-317500" algn="l" rtl="0">
              <a:spcBef>
                <a:spcPts val="0"/>
              </a:spcBef>
              <a:spcAft>
                <a:spcPts val="0"/>
              </a:spcAft>
              <a:buSzPts val="1400"/>
              <a:buFont typeface="Lato"/>
              <a:buChar char="●"/>
            </a:pPr>
            <a:r>
              <a:rPr lang="fr-FR" dirty="0">
                <a:latin typeface="Lato"/>
                <a:ea typeface="Lato"/>
                <a:cs typeface="Lato"/>
                <a:sym typeface="Lato"/>
              </a:rPr>
              <a:t>Enregistre le </a:t>
            </a:r>
            <a:r>
              <a:rPr lang="fr-FR" dirty="0" err="1">
                <a:latin typeface="Lato"/>
                <a:ea typeface="Lato"/>
                <a:cs typeface="Lato"/>
                <a:sym typeface="Lato"/>
              </a:rPr>
              <a:t>node</a:t>
            </a:r>
            <a:r>
              <a:rPr lang="fr-FR" dirty="0">
                <a:latin typeface="Lato"/>
                <a:ea typeface="Lato"/>
                <a:cs typeface="Lato"/>
                <a:sym typeface="Lato"/>
              </a:rPr>
              <a:t> avec le cluster</a:t>
            </a:r>
            <a:endParaRPr dirty="0">
              <a:latin typeface="Lato"/>
              <a:ea typeface="Lato"/>
              <a:cs typeface="Lato"/>
              <a:sym typeface="Lato"/>
            </a:endParaRPr>
          </a:p>
          <a:p>
            <a:pPr marL="457200" lvl="0" indent="-317500" algn="l" rtl="0">
              <a:spcBef>
                <a:spcPts val="0"/>
              </a:spcBef>
              <a:spcAft>
                <a:spcPts val="0"/>
              </a:spcAft>
              <a:buSzPts val="1400"/>
              <a:buFont typeface="Lato"/>
              <a:buChar char="●"/>
            </a:pPr>
            <a:r>
              <a:rPr lang="fr-FR" dirty="0">
                <a:latin typeface="Lato"/>
                <a:ea typeface="Lato"/>
                <a:cs typeface="Lato"/>
                <a:sym typeface="Lato"/>
              </a:rPr>
              <a:t>Interagit avec </a:t>
            </a:r>
            <a:r>
              <a:rPr lang="fr-FR" dirty="0" err="1">
                <a:latin typeface="Lato"/>
                <a:ea typeface="Lato"/>
                <a:cs typeface="Lato"/>
                <a:sym typeface="Lato"/>
              </a:rPr>
              <a:t>apiserver</a:t>
            </a:r>
            <a:endParaRPr dirty="0">
              <a:latin typeface="Lato"/>
              <a:ea typeface="Lato"/>
              <a:cs typeface="Lato"/>
              <a:sym typeface="Lato"/>
            </a:endParaRPr>
          </a:p>
          <a:p>
            <a:pPr marL="457200" lvl="0" indent="-317500" algn="l" rtl="0">
              <a:spcBef>
                <a:spcPts val="0"/>
              </a:spcBef>
              <a:spcAft>
                <a:spcPts val="0"/>
              </a:spcAft>
              <a:buSzPts val="1400"/>
              <a:buFont typeface="Lato"/>
              <a:buChar char="●"/>
            </a:pPr>
            <a:r>
              <a:rPr lang="fr-FR" dirty="0">
                <a:latin typeface="Lato"/>
                <a:ea typeface="Lato"/>
                <a:cs typeface="Lato"/>
                <a:sym typeface="Lato"/>
              </a:rPr>
              <a:t>I</a:t>
            </a:r>
            <a:r>
              <a:rPr lang="fr" err="1">
                <a:latin typeface="Lato"/>
                <a:ea typeface="Lato"/>
                <a:cs typeface="Lato"/>
                <a:sym typeface="Lato"/>
              </a:rPr>
              <a:t>nstanci</a:t>
            </a:r>
            <a:r>
              <a:rPr lang="fr-FR" dirty="0">
                <a:latin typeface="Lato"/>
                <a:ea typeface="Lato"/>
                <a:cs typeface="Lato"/>
                <a:sym typeface="Lato"/>
              </a:rPr>
              <a:t>e les</a:t>
            </a:r>
            <a:r>
              <a:rPr lang="fr" dirty="0">
                <a:latin typeface="Lato"/>
                <a:ea typeface="Lato"/>
                <a:cs typeface="Lato"/>
                <a:sym typeface="Lato"/>
              </a:rPr>
              <a:t> </a:t>
            </a:r>
            <a:r>
              <a:rPr lang="fr-FR" err="1">
                <a:latin typeface="Lato"/>
                <a:ea typeface="Lato"/>
                <a:cs typeface="Lato"/>
                <a:sym typeface="Lato"/>
              </a:rPr>
              <a:t>pods</a:t>
            </a:r>
          </a:p>
          <a:p>
            <a:pPr marL="0" lvl="0" indent="0" algn="l" rtl="0">
              <a:spcBef>
                <a:spcPts val="0"/>
              </a:spcBef>
              <a:spcAft>
                <a:spcPts val="0"/>
              </a:spcAft>
              <a:buNone/>
            </a:pPr>
            <a:endParaRPr dirty="0">
              <a:latin typeface="Lato"/>
              <a:ea typeface="Lato"/>
              <a:cs typeface="Lato"/>
              <a:sym typeface="Lato"/>
            </a:endParaRPr>
          </a:p>
          <a:p>
            <a:pPr marL="457200" lvl="0" indent="0" algn="l" rtl="0">
              <a:spcBef>
                <a:spcPts val="0"/>
              </a:spcBef>
              <a:spcAft>
                <a:spcPts val="0"/>
              </a:spcAft>
              <a:buNone/>
            </a:pPr>
            <a:endParaRPr dirty="0">
              <a:latin typeface="Lato"/>
              <a:ea typeface="Lato"/>
              <a:cs typeface="Lato"/>
              <a:sym typeface="Lato"/>
            </a:endParaRPr>
          </a:p>
        </p:txBody>
      </p:sp>
      <p:sp>
        <p:nvSpPr>
          <p:cNvPr id="8" name="Google Shape;163;p20">
            <a:extLst>
              <a:ext uri="{FF2B5EF4-FFF2-40B4-BE49-F238E27FC236}">
                <a16:creationId xmlns:a16="http://schemas.microsoft.com/office/drawing/2014/main" id="{98011BCB-97BE-468A-B821-56E53F15B9E0}"/>
              </a:ext>
            </a:extLst>
          </p:cNvPr>
          <p:cNvSpPr txBox="1"/>
          <p:nvPr/>
        </p:nvSpPr>
        <p:spPr>
          <a:xfrm>
            <a:off x="5310249" y="2504616"/>
            <a:ext cx="6258600" cy="1234721"/>
          </a:xfrm>
          <a:prstGeom prst="rect">
            <a:avLst/>
          </a:prstGeom>
          <a:solidFill>
            <a:srgbClr val="D5A6BD"/>
          </a:solidFill>
          <a:ln w="19050" cap="flat" cmpd="sng">
            <a:solidFill>
              <a:srgbClr val="000000"/>
            </a:solidFill>
            <a:prstDash val="solid"/>
            <a:round/>
            <a:headEnd type="none" w="sm" len="sm"/>
            <a:tailEnd type="none" w="sm" len="sm"/>
          </a:ln>
        </p:spPr>
        <p:txBody>
          <a:bodyPr spcFirstLastPara="1" wrap="square" lIns="91425" tIns="91425" rIns="91425" bIns="91425" anchor="t" anchorCtr="0">
            <a:noAutofit/>
          </a:bodyPr>
          <a:lstStyle/>
          <a:p>
            <a:pPr marL="457200" lvl="0" indent="-317500" algn="l" rtl="0">
              <a:spcBef>
                <a:spcPts val="0"/>
              </a:spcBef>
              <a:spcAft>
                <a:spcPts val="0"/>
              </a:spcAft>
              <a:buSzPts val="1400"/>
              <a:buChar char="●"/>
            </a:pPr>
            <a:r>
              <a:rPr lang="fr"/>
              <a:t>Pulls</a:t>
            </a:r>
            <a:r>
              <a:rPr lang="fr" dirty="0"/>
              <a:t> </a:t>
            </a:r>
            <a:r>
              <a:rPr lang="fr-FR" dirty="0"/>
              <a:t>les </a:t>
            </a:r>
            <a:r>
              <a:rPr lang="fr" dirty="0"/>
              <a:t>images</a:t>
            </a:r>
            <a:endParaRPr dirty="0"/>
          </a:p>
          <a:p>
            <a:pPr marL="457200" indent="-317500">
              <a:buSzPts val="1400"/>
              <a:buFontTx/>
              <a:buChar char="●"/>
            </a:pPr>
            <a:r>
              <a:rPr lang="fr-FR" dirty="0"/>
              <a:t>Démarre et arrête les conteneurs</a:t>
            </a:r>
            <a:endParaRPr dirty="0"/>
          </a:p>
          <a:p>
            <a:pPr marL="457200" lvl="0" indent="-317500" algn="l" rtl="0">
              <a:spcBef>
                <a:spcPts val="0"/>
              </a:spcBef>
              <a:spcAft>
                <a:spcPts val="0"/>
              </a:spcAft>
              <a:buSzPts val="1400"/>
              <a:buChar char="●"/>
            </a:pPr>
            <a:r>
              <a:rPr lang="fr" dirty="0"/>
              <a:t>Docker</a:t>
            </a:r>
            <a:endParaRPr dirty="0"/>
          </a:p>
        </p:txBody>
      </p:sp>
      <p:sp>
        <p:nvSpPr>
          <p:cNvPr id="10" name="Google Shape;162;p20">
            <a:extLst>
              <a:ext uri="{FF2B5EF4-FFF2-40B4-BE49-F238E27FC236}">
                <a16:creationId xmlns:a16="http://schemas.microsoft.com/office/drawing/2014/main" id="{0BADD81F-6117-4EFD-A903-9C033E7319F1}"/>
              </a:ext>
            </a:extLst>
          </p:cNvPr>
          <p:cNvSpPr txBox="1"/>
          <p:nvPr/>
        </p:nvSpPr>
        <p:spPr>
          <a:xfrm>
            <a:off x="5331660" y="4036353"/>
            <a:ext cx="6204896" cy="1275386"/>
          </a:xfrm>
          <a:prstGeom prst="rect">
            <a:avLst/>
          </a:prstGeom>
          <a:solidFill>
            <a:srgbClr val="CFE2F3"/>
          </a:solidFill>
          <a:ln w="19050" cap="flat" cmpd="sng">
            <a:solidFill>
              <a:srgbClr val="000000"/>
            </a:solidFill>
            <a:prstDash val="solid"/>
            <a:round/>
            <a:headEnd type="none" w="sm" len="sm"/>
            <a:tailEnd type="none" w="sm" len="sm"/>
          </a:ln>
        </p:spPr>
        <p:txBody>
          <a:bodyPr spcFirstLastPara="1" wrap="square" lIns="91425" tIns="91425" rIns="91425" bIns="91425" anchor="t" anchorCtr="0">
            <a:noAutofit/>
          </a:bodyPr>
          <a:lstStyle/>
          <a:p>
            <a:pPr marL="457200" lvl="0" indent="-317500" algn="l" rtl="0">
              <a:spcBef>
                <a:spcPts val="0"/>
              </a:spcBef>
              <a:spcAft>
                <a:spcPts val="0"/>
              </a:spcAft>
              <a:buSzPts val="1400"/>
              <a:buFont typeface="Lato"/>
              <a:buChar char="●"/>
            </a:pPr>
            <a:r>
              <a:rPr lang="fr-FR" dirty="0">
                <a:latin typeface="Lato"/>
                <a:ea typeface="Lato"/>
                <a:cs typeface="Lato"/>
                <a:sym typeface="Lato"/>
              </a:rPr>
              <a:t>Le composant réseau de </a:t>
            </a:r>
            <a:r>
              <a:rPr lang="fr-FR" dirty="0" err="1">
                <a:latin typeface="Lato"/>
                <a:ea typeface="Lato"/>
                <a:cs typeface="Lato"/>
                <a:sym typeface="Lato"/>
              </a:rPr>
              <a:t>kubernetes</a:t>
            </a:r>
            <a:endParaRPr dirty="0">
              <a:latin typeface="Lato"/>
              <a:ea typeface="Lato"/>
              <a:cs typeface="Lato"/>
              <a:sym typeface="Lato"/>
            </a:endParaRPr>
          </a:p>
          <a:p>
            <a:pPr marL="457200" indent="-317500">
              <a:buSzPts val="1400"/>
              <a:buFont typeface="Lato"/>
              <a:buChar char="●"/>
            </a:pPr>
            <a:r>
              <a:rPr lang="fr-FR" dirty="0">
                <a:latin typeface="Lato"/>
                <a:ea typeface="Lato"/>
                <a:cs typeface="Lato"/>
                <a:sym typeface="Lato"/>
              </a:rPr>
              <a:t>S’assure que chaque </a:t>
            </a:r>
            <a:r>
              <a:rPr lang="fr" err="1">
                <a:latin typeface="Lato"/>
                <a:ea typeface="Lato"/>
                <a:cs typeface="Lato"/>
                <a:sym typeface="Lato"/>
              </a:rPr>
              <a:t>pod</a:t>
            </a:r>
            <a:r>
              <a:rPr lang="fr" dirty="0">
                <a:latin typeface="Lato"/>
                <a:ea typeface="Lato"/>
                <a:cs typeface="Lato"/>
                <a:sym typeface="Lato"/>
              </a:rPr>
              <a:t> a</a:t>
            </a:r>
            <a:r>
              <a:rPr lang="fr">
                <a:latin typeface="Lato"/>
                <a:ea typeface="Lato"/>
                <a:cs typeface="Lato"/>
                <a:sym typeface="Lato"/>
              </a:rPr>
              <a:t> </a:t>
            </a:r>
            <a:r>
              <a:rPr lang="fr" dirty="0">
                <a:latin typeface="Lato"/>
                <a:ea typeface="Lato"/>
                <a:cs typeface="Lato"/>
                <a:sym typeface="Lato"/>
              </a:rPr>
              <a:t> </a:t>
            </a:r>
            <a:r>
              <a:rPr lang="fr-FR" dirty="0">
                <a:latin typeface="Lato"/>
                <a:ea typeface="Lato"/>
                <a:cs typeface="Lato"/>
                <a:sym typeface="Lato"/>
              </a:rPr>
              <a:t>une @</a:t>
            </a:r>
            <a:r>
              <a:rPr lang="fr" dirty="0">
                <a:latin typeface="Lato"/>
                <a:ea typeface="Lato"/>
                <a:cs typeface="Lato"/>
                <a:sym typeface="Lato"/>
              </a:rPr>
              <a:t>IP unique</a:t>
            </a:r>
            <a:endParaRPr lang="fr">
              <a:latin typeface="Lato"/>
              <a:ea typeface="Lato"/>
              <a:cs typeface="Lato"/>
            </a:endParaRPr>
          </a:p>
          <a:p>
            <a:pPr marL="457200" lvl="0" indent="-317500">
              <a:buSzPts val="1400"/>
              <a:buFont typeface="Lato"/>
              <a:buChar char="●"/>
            </a:pPr>
            <a:r>
              <a:rPr lang="fr-FR" dirty="0">
                <a:latin typeface="Lato"/>
                <a:ea typeface="Lato"/>
                <a:cs typeface="Lato"/>
                <a:sym typeface="Lato"/>
              </a:rPr>
              <a:t>Équilibre la charge sur tous les </a:t>
            </a:r>
            <a:r>
              <a:rPr lang="fr-FR" dirty="0" err="1">
                <a:latin typeface="Lato"/>
                <a:ea typeface="Lato"/>
                <a:cs typeface="Lato"/>
                <a:sym typeface="Lato"/>
              </a:rPr>
              <a:t>pods</a:t>
            </a:r>
            <a:r>
              <a:rPr lang="fr-FR" dirty="0">
                <a:latin typeface="Lato"/>
                <a:ea typeface="Lato"/>
                <a:cs typeface="Lato"/>
                <a:sym typeface="Lato"/>
              </a:rPr>
              <a:t> d'un service</a:t>
            </a:r>
            <a:endParaRPr lang="fr-FR">
              <a:latin typeface="Lato"/>
              <a:ea typeface="Lato"/>
              <a:cs typeface="Lato"/>
              <a:sym typeface="Lato"/>
            </a:endParaRPr>
          </a:p>
        </p:txBody>
      </p:sp>
      <p:pic>
        <p:nvPicPr>
          <p:cNvPr id="59396" name="Picture 4" descr="What is Kubernetes? | SNDK CORP">
            <a:extLst>
              <a:ext uri="{FF2B5EF4-FFF2-40B4-BE49-F238E27FC236}">
                <a16:creationId xmlns:a16="http://schemas.microsoft.com/office/drawing/2014/main" id="{CD3795F7-DC3B-42B9-B8E8-2C7689B0EA1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320063"/>
            <a:ext cx="5082901" cy="360382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od</a:t>
            </a:r>
            <a:endParaRPr lang="en-GB" dirty="0"/>
          </a:p>
        </p:txBody>
      </p:sp>
      <p:sp>
        <p:nvSpPr>
          <p:cNvPr id="5" name="Text Placeholder 4"/>
          <p:cNvSpPr>
            <a:spLocks noGrp="1"/>
          </p:cNvSpPr>
          <p:nvPr>
            <p:ph type="body" sz="quarter" idx="10"/>
          </p:nvPr>
        </p:nvSpPr>
        <p:spPr>
          <a:xfrm>
            <a:off x="227349" y="1022521"/>
            <a:ext cx="11700000" cy="4466201"/>
          </a:xfrm>
        </p:spPr>
        <p:txBody>
          <a:bodyPr/>
          <a:lstStyle/>
          <a:p>
            <a:pPr marL="457200" lvl="0" indent="-330200">
              <a:lnSpc>
                <a:spcPct val="115000"/>
              </a:lnSpc>
              <a:spcBef>
                <a:spcPts val="1600"/>
              </a:spcBef>
              <a:buClr>
                <a:srgbClr val="000000"/>
              </a:buClr>
              <a:buSzPts val="1600"/>
              <a:buFont typeface="Roboto"/>
              <a:buChar char="●"/>
            </a:pPr>
            <a:r>
              <a:rPr lang="fr-FR" dirty="0"/>
              <a:t>Le </a:t>
            </a:r>
            <a:r>
              <a:rPr lang="fr-FR" dirty="0" err="1"/>
              <a:t>pod</a:t>
            </a:r>
            <a:r>
              <a:rPr lang="fr-FR" dirty="0"/>
              <a:t> est un petit environnement séparé pour exécuter des conteneurs, généralement, chaque </a:t>
            </a:r>
            <a:r>
              <a:rPr lang="fr-FR" dirty="0" err="1"/>
              <a:t>pod</a:t>
            </a:r>
            <a:r>
              <a:rPr lang="fr-FR" dirty="0"/>
              <a:t> aura un conteneur.</a:t>
            </a:r>
          </a:p>
          <a:p>
            <a:pPr marL="457200" lvl="0" indent="-330200">
              <a:lnSpc>
                <a:spcPct val="115000"/>
              </a:lnSpc>
              <a:spcBef>
                <a:spcPts val="1600"/>
              </a:spcBef>
              <a:buClr>
                <a:srgbClr val="000000"/>
              </a:buClr>
              <a:buSzPts val="1600"/>
              <a:buFont typeface="Roboto"/>
              <a:buChar char="●"/>
            </a:pPr>
            <a:endParaRPr lang="fr-FR" dirty="0">
              <a:latin typeface="Montserrat"/>
              <a:ea typeface="Montserrat"/>
              <a:cs typeface="Montserrat"/>
              <a:sym typeface="Montserrat"/>
            </a:endParaRPr>
          </a:p>
          <a:p>
            <a:pPr marL="457200" lvl="0" indent="-330200">
              <a:lnSpc>
                <a:spcPct val="115000"/>
              </a:lnSpc>
              <a:spcBef>
                <a:spcPts val="1600"/>
              </a:spcBef>
              <a:buClr>
                <a:srgbClr val="000000"/>
              </a:buClr>
              <a:buSzPts val="1600"/>
              <a:buFont typeface="Roboto"/>
              <a:buChar char="●"/>
            </a:pPr>
            <a:r>
              <a:rPr lang="fr-FR" dirty="0">
                <a:latin typeface="Montserrat"/>
                <a:ea typeface="Montserrat"/>
                <a:cs typeface="Montserrat"/>
                <a:sym typeface="Montserrat"/>
              </a:rPr>
              <a:t>Tous les conteneurs d'un </a:t>
            </a:r>
            <a:r>
              <a:rPr lang="fr-FR" dirty="0" err="1">
                <a:latin typeface="Montserrat"/>
                <a:ea typeface="Montserrat"/>
                <a:cs typeface="Montserrat"/>
                <a:sym typeface="Montserrat"/>
              </a:rPr>
              <a:t>pod</a:t>
            </a:r>
            <a:r>
              <a:rPr lang="fr-FR" dirty="0">
                <a:latin typeface="Montserrat"/>
                <a:ea typeface="Montserrat"/>
                <a:cs typeface="Montserrat"/>
                <a:sym typeface="Montserrat"/>
              </a:rPr>
              <a:t> partagent la même adresse IP</a:t>
            </a:r>
          </a:p>
          <a:p>
            <a:pPr marL="457200" lvl="0" indent="-330200">
              <a:lnSpc>
                <a:spcPct val="115000"/>
              </a:lnSpc>
              <a:spcBef>
                <a:spcPts val="1600"/>
              </a:spcBef>
              <a:buClr>
                <a:srgbClr val="000000"/>
              </a:buClr>
              <a:buSzPts val="1600"/>
              <a:buFont typeface="Roboto"/>
              <a:buChar char="●"/>
            </a:pPr>
            <a:endParaRPr lang="fr-FR" dirty="0">
              <a:latin typeface="Montserrat"/>
              <a:ea typeface="Montserrat"/>
              <a:cs typeface="Montserrat"/>
              <a:sym typeface="Montserrat"/>
            </a:endParaRPr>
          </a:p>
          <a:p>
            <a:pPr marL="457200" lvl="0" indent="-330200">
              <a:lnSpc>
                <a:spcPct val="115000"/>
              </a:lnSpc>
              <a:spcBef>
                <a:spcPts val="1600"/>
              </a:spcBef>
              <a:buClr>
                <a:srgbClr val="000000"/>
              </a:buClr>
              <a:buSzPts val="1600"/>
              <a:buFont typeface="Roboto"/>
              <a:buChar char="●"/>
            </a:pPr>
            <a:r>
              <a:rPr lang="fr-FR" dirty="0"/>
              <a:t>Le </a:t>
            </a:r>
            <a:r>
              <a:rPr lang="fr-FR" dirty="0" err="1"/>
              <a:t>pod</a:t>
            </a:r>
            <a:r>
              <a:rPr lang="fr-FR" dirty="0"/>
              <a:t> est l'unité de </a:t>
            </a:r>
            <a:r>
              <a:rPr lang="en-US" dirty="0">
                <a:latin typeface="Montserrat"/>
                <a:ea typeface="Montserrat"/>
                <a:cs typeface="Montserrat"/>
                <a:sym typeface="Montserrat"/>
              </a:rPr>
              <a:t>scaling  </a:t>
            </a:r>
            <a:r>
              <a:rPr lang="fr-FR" dirty="0"/>
              <a:t>dans </a:t>
            </a:r>
            <a:r>
              <a:rPr lang="fr-FR" dirty="0" err="1"/>
              <a:t>kubernetes</a:t>
            </a:r>
            <a:endParaRPr lang="en-US" dirty="0">
              <a:latin typeface="Montserrat"/>
              <a:ea typeface="Montserrat"/>
              <a:cs typeface="Montserrat"/>
              <a:sym typeface="Montserrat"/>
            </a:endParaRPr>
          </a:p>
          <a:p>
            <a:pPr lvl="0">
              <a:lnSpc>
                <a:spcPct val="115000"/>
              </a:lnSpc>
              <a:spcBef>
                <a:spcPts val="1600"/>
              </a:spcBef>
            </a:pPr>
            <a:endParaRPr lang="en-US" dirty="0">
              <a:latin typeface="Montserrat"/>
              <a:ea typeface="Montserrat"/>
              <a:cs typeface="Montserrat"/>
              <a:sym typeface="Montserrat"/>
            </a:endParaRPr>
          </a:p>
          <a:p>
            <a:pPr lvl="1">
              <a:buNone/>
            </a:pPr>
            <a:endParaRPr lang="en-US" dirty="0"/>
          </a:p>
          <a:p>
            <a:endParaRPr lang="en-GB" dirty="0"/>
          </a:p>
        </p:txBody>
      </p:sp>
      <p:pic>
        <p:nvPicPr>
          <p:cNvPr id="60422" name="Picture 6" descr="Chapter 3. Pods: running containers in Kubernetes - Kubernetes in Action">
            <a:extLst>
              <a:ext uri="{FF2B5EF4-FFF2-40B4-BE49-F238E27FC236}">
                <a16:creationId xmlns:a16="http://schemas.microsoft.com/office/drawing/2014/main" id="{ECA8EFEF-B30E-47BF-B91C-F2BDF2DE49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32926" y="4102688"/>
            <a:ext cx="6931041" cy="257331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E5ECB244-317E-47CC-B78F-5C707A48BC22}"/>
              </a:ext>
            </a:extLst>
          </p:cNvPr>
          <p:cNvSpPr>
            <a:spLocks noGrp="1"/>
          </p:cNvSpPr>
          <p:nvPr>
            <p:ph type="body" sz="quarter" idx="14"/>
          </p:nvPr>
        </p:nvSpPr>
        <p:spPr>
          <a:xfrm>
            <a:off x="783129" y="5278425"/>
            <a:ext cx="6141546" cy="750899"/>
          </a:xfrm>
        </p:spPr>
        <p:txBody>
          <a:bodyPr/>
          <a:lstStyle/>
          <a:p>
            <a:r>
              <a:rPr lang="fr-FR" sz="1800" b="0" i="1" dirty="0">
                <a:solidFill>
                  <a:schemeClr val="tx1"/>
                </a:solidFill>
                <a:ea typeface="+mj-lt"/>
                <a:cs typeface="+mj-lt"/>
              </a:rPr>
              <a:t>Terme apparu en 2011 pour la première fois.</a:t>
            </a:r>
          </a:p>
        </p:txBody>
      </p:sp>
      <p:sp>
        <p:nvSpPr>
          <p:cNvPr id="4" name="Espace réservé du texte 3">
            <a:extLst>
              <a:ext uri="{FF2B5EF4-FFF2-40B4-BE49-F238E27FC236}">
                <a16:creationId xmlns:a16="http://schemas.microsoft.com/office/drawing/2014/main" id="{948D75D1-CADF-4F96-AEC3-ED8359CC3AE1}"/>
              </a:ext>
            </a:extLst>
          </p:cNvPr>
          <p:cNvSpPr>
            <a:spLocks noGrp="1"/>
          </p:cNvSpPr>
          <p:nvPr>
            <p:ph type="body" sz="quarter" idx="13"/>
          </p:nvPr>
        </p:nvSpPr>
        <p:spPr>
          <a:xfrm>
            <a:off x="4404314" y="2019711"/>
            <a:ext cx="3296647" cy="412363"/>
          </a:xfrm>
        </p:spPr>
        <p:txBody>
          <a:bodyPr/>
          <a:lstStyle/>
          <a:p>
            <a:r>
              <a:rPr lang="fr-FR">
                <a:ea typeface="Verdana"/>
                <a:cs typeface="Verdana"/>
              </a:rPr>
              <a:t>Définition: </a:t>
            </a:r>
            <a:endParaRPr lang="fr-FR"/>
          </a:p>
        </p:txBody>
      </p:sp>
      <p:sp>
        <p:nvSpPr>
          <p:cNvPr id="8" name="Espace réservé du texte 7"/>
          <p:cNvSpPr>
            <a:spLocks noGrp="1"/>
          </p:cNvSpPr>
          <p:nvPr>
            <p:ph type="body" sz="quarter" idx="10"/>
          </p:nvPr>
        </p:nvSpPr>
        <p:spPr>
          <a:xfrm>
            <a:off x="4400549" y="2819400"/>
            <a:ext cx="6600825" cy="2419537"/>
          </a:xfrm>
        </p:spPr>
        <p:txBody>
          <a:bodyPr/>
          <a:lstStyle/>
          <a:p>
            <a:pPr>
              <a:lnSpc>
                <a:spcPct val="150000"/>
              </a:lnSpc>
            </a:pPr>
            <a:r>
              <a:rPr lang="fr-FR" dirty="0">
                <a:ea typeface="+mj-lt"/>
                <a:cs typeface="+mj-lt"/>
              </a:rPr>
              <a:t>    Les </a:t>
            </a:r>
            <a:r>
              <a:rPr lang="fr-FR" dirty="0" err="1">
                <a:ea typeface="+mj-lt"/>
                <a:cs typeface="+mj-lt"/>
              </a:rPr>
              <a:t>microservices</a:t>
            </a:r>
            <a:r>
              <a:rPr lang="fr-FR" dirty="0">
                <a:ea typeface="+mj-lt"/>
                <a:cs typeface="+mj-lt"/>
              </a:rPr>
              <a:t> sont une technique de développement logiciel - une variante du style architectural de l'architecture orientée services (SOA) - qui structure une application comme un ensemble de services faiblement couplés.</a:t>
            </a:r>
          </a:p>
          <a:p>
            <a:pPr algn="r"/>
            <a:r>
              <a:rPr lang="fr-FR" sz="1200" i="1" u="sng" dirty="0">
                <a:ea typeface="+mj-lt"/>
                <a:cs typeface="+mj-lt"/>
              </a:rPr>
              <a:t>Source: </a:t>
            </a:r>
            <a:r>
              <a:rPr lang="fr-FR" sz="1200" i="1" u="sng" dirty="0" err="1">
                <a:ea typeface="+mj-lt"/>
                <a:cs typeface="+mj-lt"/>
              </a:rPr>
              <a:t>Wikipedia</a:t>
            </a:r>
            <a:endParaRPr lang="fr-FR" sz="1200" i="1" u="sng" dirty="0">
              <a:ea typeface="+mj-lt"/>
              <a:cs typeface="+mj-lt"/>
            </a:endParaRPr>
          </a:p>
          <a:p>
            <a:endParaRPr lang="fr-FR" dirty="0"/>
          </a:p>
        </p:txBody>
      </p:sp>
      <p:sp>
        <p:nvSpPr>
          <p:cNvPr id="7" name="ZoneTexte 6">
            <a:extLst>
              <a:ext uri="{FF2B5EF4-FFF2-40B4-BE49-F238E27FC236}">
                <a16:creationId xmlns:a16="http://schemas.microsoft.com/office/drawing/2014/main" id="{58D696FB-136C-43A2-8858-0735590039FF}"/>
              </a:ext>
            </a:extLst>
          </p:cNvPr>
          <p:cNvSpPr txBox="1"/>
          <p:nvPr/>
        </p:nvSpPr>
        <p:spPr>
          <a:xfrm>
            <a:off x="352927" y="286084"/>
            <a:ext cx="476183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sz="3600">
                <a:latin typeface="+mj-lt"/>
                <a:ea typeface="+mj-ea"/>
                <a:cs typeface="+mj-cs"/>
              </a:rPr>
              <a:t>Les microservices</a:t>
            </a:r>
          </a:p>
        </p:txBody>
      </p:sp>
    </p:spTree>
    <p:extLst>
      <p:ext uri="{BB962C8B-B14F-4D97-AF65-F5344CB8AC3E}">
        <p14:creationId xmlns:p14="http://schemas.microsoft.com/office/powerpoint/2010/main" val="37818198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20E3D9B-E2BB-479A-B41D-4A929FE11075}"/>
              </a:ext>
            </a:extLst>
          </p:cNvPr>
          <p:cNvSpPr>
            <a:spLocks noGrp="1"/>
          </p:cNvSpPr>
          <p:nvPr>
            <p:ph type="title"/>
          </p:nvPr>
        </p:nvSpPr>
        <p:spPr/>
        <p:txBody>
          <a:bodyPr/>
          <a:lstStyle/>
          <a:p>
            <a:r>
              <a:rPr lang="fr-FR" dirty="0" err="1"/>
              <a:t>Deployment</a:t>
            </a:r>
            <a:r>
              <a:rPr lang="fr-FR" dirty="0"/>
              <a:t> </a:t>
            </a:r>
          </a:p>
        </p:txBody>
      </p:sp>
      <p:sp>
        <p:nvSpPr>
          <p:cNvPr id="3" name="Espace réservé du texte 2">
            <a:extLst>
              <a:ext uri="{FF2B5EF4-FFF2-40B4-BE49-F238E27FC236}">
                <a16:creationId xmlns:a16="http://schemas.microsoft.com/office/drawing/2014/main" id="{D656B652-C7E9-42C5-AEEE-72EF1D0EE89B}"/>
              </a:ext>
            </a:extLst>
          </p:cNvPr>
          <p:cNvSpPr>
            <a:spLocks noGrp="1"/>
          </p:cNvSpPr>
          <p:nvPr>
            <p:ph type="body" sz="quarter" idx="10"/>
          </p:nvPr>
        </p:nvSpPr>
        <p:spPr>
          <a:xfrm>
            <a:off x="227348" y="1331378"/>
            <a:ext cx="11700000" cy="4466201"/>
          </a:xfrm>
        </p:spPr>
        <p:txBody>
          <a:bodyPr vert="horz" lIns="0" tIns="0" rIns="0" bIns="0" rtlCol="0" anchor="t">
            <a:normAutofit/>
          </a:bodyPr>
          <a:lstStyle/>
          <a:p>
            <a:br>
              <a:rPr lang="fr-FR" dirty="0"/>
            </a:br>
            <a:r>
              <a:rPr lang="fr-FR" dirty="0"/>
              <a:t>Les déploiements conserveront l'état souhaité des </a:t>
            </a:r>
            <a:r>
              <a:rPr lang="fr-FR" err="1"/>
              <a:t>pods</a:t>
            </a:r>
            <a:r>
              <a:rPr lang="fr-FR"/>
              <a:t>.</a:t>
            </a:r>
            <a:endParaRPr lang="fr-FR" dirty="0"/>
          </a:p>
          <a:p>
            <a:endParaRPr lang="fr-FR" dirty="0"/>
          </a:p>
          <a:p>
            <a:r>
              <a:rPr lang="fr-FR" dirty="0"/>
              <a:t>Il a d’autres fonctionnalités :</a:t>
            </a:r>
            <a:r>
              <a:rPr lang="fr-FR"/>
              <a:t> </a:t>
            </a:r>
            <a:endParaRPr lang="fr-FR">
              <a:ea typeface="Verdana"/>
              <a:cs typeface="Verdana"/>
            </a:endParaRPr>
          </a:p>
          <a:p>
            <a:pPr marL="342900" indent="-342900">
              <a:buFont typeface="Arial" panose="020B0604020202020204" pitchFamily="34" charset="0"/>
              <a:buChar char="•"/>
            </a:pPr>
            <a:r>
              <a:rPr lang="fr-FR" dirty="0"/>
              <a:t>Met à jour les </a:t>
            </a:r>
            <a:r>
              <a:rPr lang="fr-FR" dirty="0" err="1"/>
              <a:t>pods</a:t>
            </a:r>
            <a:r>
              <a:rPr lang="fr-FR" dirty="0"/>
              <a:t> (</a:t>
            </a:r>
            <a:r>
              <a:rPr lang="fr-FR" dirty="0" err="1"/>
              <a:t>PodTemplateSpec</a:t>
            </a:r>
            <a:r>
              <a:rPr lang="fr-FR" dirty="0"/>
              <a:t>).</a:t>
            </a:r>
            <a:endParaRPr lang="fr-FR">
              <a:ea typeface="Verdana"/>
              <a:cs typeface="Verdana"/>
            </a:endParaRPr>
          </a:p>
          <a:p>
            <a:pPr marL="342900" indent="-342900">
              <a:buFont typeface="Arial" panose="020B0604020202020204" pitchFamily="34" charset="0"/>
              <a:buChar char="•"/>
            </a:pPr>
            <a:r>
              <a:rPr lang="fr-FR" dirty="0"/>
              <a:t>Rollback aux anciennes versions de déploiement</a:t>
            </a:r>
            <a:endParaRPr lang="fr-FR"/>
          </a:p>
          <a:p>
            <a:pPr marL="342900" indent="-342900">
              <a:buFont typeface="Arial" panose="020B0604020202020204" pitchFamily="34" charset="0"/>
              <a:buChar char="•"/>
            </a:pPr>
            <a:r>
              <a:rPr lang="fr-FR" err="1"/>
              <a:t>Scale</a:t>
            </a:r>
            <a:r>
              <a:rPr lang="fr-FR" dirty="0"/>
              <a:t> up/down les </a:t>
            </a:r>
            <a:r>
              <a:rPr lang="fr-FR"/>
              <a:t>déploiements </a:t>
            </a:r>
            <a:endParaRPr lang="fr-FR">
              <a:ea typeface="Verdana"/>
              <a:cs typeface="Verdana"/>
            </a:endParaRPr>
          </a:p>
          <a:p>
            <a:pPr marL="342900" indent="-342900">
              <a:buFont typeface="Arial" panose="020B0604020202020204" pitchFamily="34" charset="0"/>
              <a:buChar char="•"/>
            </a:pPr>
            <a:r>
              <a:rPr lang="fr-FR" dirty="0"/>
              <a:t>Suspendre et reprendre le déploiement</a:t>
            </a:r>
            <a:endParaRPr lang="fr-FR">
              <a:ea typeface="Verdana"/>
              <a:cs typeface="Verdana"/>
            </a:endParaRPr>
          </a:p>
          <a:p>
            <a:pPr marL="342900" indent="-342900">
              <a:buFont typeface="Arial" panose="020B0604020202020204" pitchFamily="34" charset="0"/>
              <a:buChar char="•"/>
            </a:pPr>
            <a:r>
              <a:rPr lang="fr-FR" dirty="0"/>
              <a:t>Utiliser l'état du déploiement pour déterminer l'état des </a:t>
            </a:r>
            <a:r>
              <a:rPr lang="fr-FR"/>
              <a:t>réplicas</a:t>
            </a:r>
            <a:endParaRPr lang="fr-FR">
              <a:ea typeface="Verdana"/>
              <a:cs typeface="Verdana"/>
            </a:endParaRPr>
          </a:p>
          <a:p>
            <a:pPr marL="342900" indent="-342900">
              <a:buFont typeface="Arial" panose="020B0604020202020204" pitchFamily="34" charset="0"/>
              <a:buChar char="•"/>
            </a:pPr>
            <a:endParaRPr lang="fr-FR" dirty="0"/>
          </a:p>
          <a:p>
            <a:endParaRPr lang="fr-FR" dirty="0"/>
          </a:p>
        </p:txBody>
      </p:sp>
      <p:sp>
        <p:nvSpPr>
          <p:cNvPr id="10" name="Rectangle 6">
            <a:extLst>
              <a:ext uri="{FF2B5EF4-FFF2-40B4-BE49-F238E27FC236}">
                <a16:creationId xmlns:a16="http://schemas.microsoft.com/office/drawing/2014/main" id="{DD98ED20-0D3D-459C-BFB3-4A48D7F80CEC}"/>
              </a:ext>
            </a:extLst>
          </p:cNvPr>
          <p:cNvSpPr>
            <a:spLocks noChangeArrowheads="1"/>
          </p:cNvSpPr>
          <p:nvPr/>
        </p:nvSpPr>
        <p:spPr bwMode="auto">
          <a:xfrm>
            <a:off x="0" y="102920"/>
            <a:ext cx="65"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7168460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59559109-2D32-478E-8D02-626317AF1EBD}"/>
              </a:ext>
            </a:extLst>
          </p:cNvPr>
          <p:cNvPicPr>
            <a:picLocks noChangeAspect="1"/>
          </p:cNvPicPr>
          <p:nvPr/>
        </p:nvPicPr>
        <p:blipFill>
          <a:blip r:embed="rId2"/>
          <a:stretch>
            <a:fillRect/>
          </a:stretch>
        </p:blipFill>
        <p:spPr>
          <a:xfrm>
            <a:off x="2957650" y="1998617"/>
            <a:ext cx="4666098" cy="2388598"/>
          </a:xfrm>
          <a:prstGeom prst="rect">
            <a:avLst/>
          </a:prstGeom>
        </p:spPr>
      </p:pic>
      <p:sp>
        <p:nvSpPr>
          <p:cNvPr id="8" name="Signe de multiplication 7">
            <a:extLst>
              <a:ext uri="{FF2B5EF4-FFF2-40B4-BE49-F238E27FC236}">
                <a16:creationId xmlns:a16="http://schemas.microsoft.com/office/drawing/2014/main" id="{76FB33CF-40C0-4E7A-99B2-E598FE44506B}"/>
              </a:ext>
            </a:extLst>
          </p:cNvPr>
          <p:cNvSpPr/>
          <p:nvPr/>
        </p:nvSpPr>
        <p:spPr>
          <a:xfrm>
            <a:off x="3096139" y="26127"/>
            <a:ext cx="4284375" cy="6035040"/>
          </a:xfrm>
          <a:prstGeom prst="mathMultiply">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 name="Image 9" descr="Une image contenant capture d’écran&#10;&#10;Description générée automatiquement">
            <a:extLst>
              <a:ext uri="{FF2B5EF4-FFF2-40B4-BE49-F238E27FC236}">
                <a16:creationId xmlns:a16="http://schemas.microsoft.com/office/drawing/2014/main" id="{001434A4-1A50-481F-B05B-C259697F90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5371" y="992777"/>
            <a:ext cx="7078979" cy="4271554"/>
          </a:xfrm>
          <a:prstGeom prst="rect">
            <a:avLst/>
          </a:prstGeom>
        </p:spPr>
      </p:pic>
    </p:spTree>
    <p:extLst>
      <p:ext uri="{BB962C8B-B14F-4D97-AF65-F5344CB8AC3E}">
        <p14:creationId xmlns:p14="http://schemas.microsoft.com/office/powerpoint/2010/main" val="265685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7"/>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Service Concepts</a:t>
            </a:r>
          </a:p>
        </p:txBody>
      </p:sp>
      <p:sp>
        <p:nvSpPr>
          <p:cNvPr id="3" name="Espace réservé du texte 2"/>
          <p:cNvSpPr>
            <a:spLocks noGrp="1"/>
          </p:cNvSpPr>
          <p:nvPr>
            <p:ph type="body" sz="quarter" idx="10"/>
          </p:nvPr>
        </p:nvSpPr>
        <p:spPr>
          <a:xfrm>
            <a:off x="227348" y="2438399"/>
            <a:ext cx="3992228" cy="3844551"/>
          </a:xfrm>
        </p:spPr>
        <p:txBody>
          <a:bodyPr/>
          <a:lstStyle/>
          <a:p>
            <a:pPr algn="just">
              <a:lnSpc>
                <a:spcPct val="150000"/>
              </a:lnSpc>
            </a:pPr>
            <a:r>
              <a:rPr lang="fr-FR" dirty="0"/>
              <a:t>Les </a:t>
            </a:r>
            <a:r>
              <a:rPr lang="fr-FR" dirty="0" err="1"/>
              <a:t>pods</a:t>
            </a:r>
            <a:r>
              <a:rPr lang="fr-FR" dirty="0"/>
              <a:t> peuvent mourir dans un cluster </a:t>
            </a:r>
            <a:r>
              <a:rPr lang="fr-FR" dirty="0" err="1"/>
              <a:t>kubernetes</a:t>
            </a:r>
            <a:r>
              <a:rPr lang="fr-FR" dirty="0"/>
              <a:t>, et lorsqu'ils seront remplacés, leur adresse IP changera.</a:t>
            </a:r>
          </a:p>
        </p:txBody>
      </p:sp>
      <p:sp>
        <p:nvSpPr>
          <p:cNvPr id="4" name="Espace réservé du texte 3"/>
          <p:cNvSpPr>
            <a:spLocks noGrp="1"/>
          </p:cNvSpPr>
          <p:nvPr>
            <p:ph type="body" sz="quarter" idx="11"/>
          </p:nvPr>
        </p:nvSpPr>
        <p:spPr/>
        <p:txBody>
          <a:bodyPr>
            <a:normAutofit/>
          </a:bodyPr>
          <a:lstStyle/>
          <a:p>
            <a:endParaRPr lang="fr-FR" dirty="0"/>
          </a:p>
        </p:txBody>
      </p:sp>
      <p:sp>
        <p:nvSpPr>
          <p:cNvPr id="5" name="Espace réservé du texte 4"/>
          <p:cNvSpPr>
            <a:spLocks noGrp="1"/>
          </p:cNvSpPr>
          <p:nvPr>
            <p:ph type="body" sz="quarter" idx="12"/>
          </p:nvPr>
        </p:nvSpPr>
        <p:spPr/>
        <p:txBody>
          <a:bodyPr/>
          <a:lstStyle/>
          <a:p>
            <a:endParaRPr lang="fr-FR"/>
          </a:p>
        </p:txBody>
      </p:sp>
      <p:pic>
        <p:nvPicPr>
          <p:cNvPr id="6" name="Google Shape;185;p23"/>
          <p:cNvPicPr preferRelativeResize="0"/>
          <p:nvPr/>
        </p:nvPicPr>
        <p:blipFill rotWithShape="1">
          <a:blip r:embed="rId2">
            <a:alphaModFix/>
          </a:blip>
          <a:srcRect/>
          <a:stretch/>
        </p:blipFill>
        <p:spPr>
          <a:xfrm>
            <a:off x="4845970" y="2014084"/>
            <a:ext cx="7266833" cy="4268867"/>
          </a:xfrm>
          <a:prstGeom prst="rect">
            <a:avLst/>
          </a:prstGeom>
          <a:noFill/>
          <a:ln>
            <a:noFill/>
          </a:ln>
        </p:spPr>
      </p:pic>
    </p:spTree>
    <p:extLst>
      <p:ext uri="{BB962C8B-B14F-4D97-AF65-F5344CB8AC3E}">
        <p14:creationId xmlns:p14="http://schemas.microsoft.com/office/powerpoint/2010/main" val="31237801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204"/>
        <p:cNvGrpSpPr/>
        <p:nvPr/>
      </p:nvGrpSpPr>
      <p:grpSpPr>
        <a:xfrm>
          <a:off x="0" y="0"/>
          <a:ext cx="0" cy="0"/>
          <a:chOff x="0" y="0"/>
          <a:chExt cx="0" cy="0"/>
        </a:xfrm>
      </p:grpSpPr>
      <p:sp>
        <p:nvSpPr>
          <p:cNvPr id="205" name="Google Shape;205;p26"/>
          <p:cNvSpPr txBox="1"/>
          <p:nvPr/>
        </p:nvSpPr>
        <p:spPr>
          <a:xfrm>
            <a:off x="91000" y="220533"/>
            <a:ext cx="12010000" cy="1272800"/>
          </a:xfrm>
          <a:prstGeom prst="rect">
            <a:avLst/>
          </a:prstGeom>
          <a:noFill/>
          <a:ln>
            <a:noFill/>
          </a:ln>
        </p:spPr>
        <p:txBody>
          <a:bodyPr spcFirstLastPara="1" wrap="square" lIns="121900" tIns="121900" rIns="121900" bIns="121900" anchor="t" anchorCtr="0">
            <a:noAutofit/>
          </a:bodyPr>
          <a:lstStyle/>
          <a:p>
            <a:pPr>
              <a:lnSpc>
                <a:spcPct val="115000"/>
              </a:lnSpc>
            </a:pPr>
            <a:endParaRPr sz="2400" dirty="0">
              <a:solidFill>
                <a:srgbClr val="595959"/>
              </a:solidFill>
              <a:latin typeface="Montserrat"/>
              <a:ea typeface="Montserrat"/>
              <a:cs typeface="Montserrat"/>
              <a:sym typeface="Montserrat"/>
            </a:endParaRPr>
          </a:p>
        </p:txBody>
      </p:sp>
      <p:pic>
        <p:nvPicPr>
          <p:cNvPr id="206" name="Google Shape;206;p26"/>
          <p:cNvPicPr preferRelativeResize="0"/>
          <p:nvPr/>
        </p:nvPicPr>
        <p:blipFill rotWithShape="1">
          <a:blip r:embed="rId3">
            <a:alphaModFix/>
          </a:blip>
          <a:srcRect/>
          <a:stretch/>
        </p:blipFill>
        <p:spPr>
          <a:xfrm>
            <a:off x="2361706" y="856933"/>
            <a:ext cx="6555200" cy="4733933"/>
          </a:xfrm>
          <a:prstGeom prst="rect">
            <a:avLst/>
          </a:prstGeom>
          <a:noFill/>
          <a:ln>
            <a:noFill/>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oogle Shape;212;p27">
            <a:extLst>
              <a:ext uri="{FF2B5EF4-FFF2-40B4-BE49-F238E27FC236}">
                <a16:creationId xmlns:a16="http://schemas.microsoft.com/office/drawing/2014/main" id="{41E0D434-E654-4334-B267-5D679C56D9E3}"/>
              </a:ext>
            </a:extLst>
          </p:cNvPr>
          <p:cNvPicPr preferRelativeResize="0"/>
          <p:nvPr/>
        </p:nvPicPr>
        <p:blipFill rotWithShape="1">
          <a:blip r:embed="rId3">
            <a:alphaModFix/>
          </a:blip>
          <a:srcRect/>
          <a:stretch/>
        </p:blipFill>
        <p:spPr>
          <a:xfrm>
            <a:off x="1791788" y="1737360"/>
            <a:ext cx="8608423" cy="4476661"/>
          </a:xfrm>
          <a:prstGeom prst="rect">
            <a:avLst/>
          </a:prstGeom>
          <a:noFill/>
          <a:ln>
            <a:noFill/>
          </a:ln>
        </p:spPr>
      </p:pic>
      <p:sp>
        <p:nvSpPr>
          <p:cNvPr id="4" name="Rectangle 1">
            <a:extLst>
              <a:ext uri="{FF2B5EF4-FFF2-40B4-BE49-F238E27FC236}">
                <a16:creationId xmlns:a16="http://schemas.microsoft.com/office/drawing/2014/main" id="{3E335343-BB72-4A58-9830-9D3D8369CA30}"/>
              </a:ext>
            </a:extLst>
          </p:cNvPr>
          <p:cNvSpPr>
            <a:spLocks noGrp="1" noChangeArrowheads="1"/>
          </p:cNvSpPr>
          <p:nvPr>
            <p:ph type="title"/>
          </p:nvPr>
        </p:nvSpPr>
        <p:spPr bwMode="auto">
          <a:xfrm>
            <a:off x="431074" y="426003"/>
            <a:ext cx="10041788" cy="297525"/>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eaLnBrk="0" fontAlgn="base" hangingPunct="0">
              <a:lnSpc>
                <a:spcPct val="100000"/>
              </a:lnSpc>
              <a:spcAft>
                <a:spcPct val="0"/>
              </a:spcAft>
            </a:pPr>
            <a:r>
              <a:rPr kumimoji="0" lang="fr-FR" altLang="fr-FR" sz="2100" b="0" i="0" u="none" strike="noStrike" cap="none" normalizeH="0" baseline="0" dirty="0">
                <a:ln>
                  <a:noFill/>
                </a:ln>
                <a:solidFill>
                  <a:srgbClr val="222222"/>
                </a:solidFill>
                <a:effectLst/>
                <a:latin typeface="inherit"/>
              </a:rPr>
              <a:t>Les services savent quels </a:t>
            </a:r>
            <a:r>
              <a:rPr kumimoji="0" lang="fr-FR" altLang="fr-FR" sz="2100" b="0" i="0" u="none" strike="noStrike" cap="none" normalizeH="0" baseline="0" dirty="0" err="1">
                <a:ln>
                  <a:noFill/>
                </a:ln>
                <a:solidFill>
                  <a:srgbClr val="222222"/>
                </a:solidFill>
                <a:effectLst/>
                <a:latin typeface="inherit"/>
              </a:rPr>
              <a:t>pods</a:t>
            </a:r>
            <a:r>
              <a:rPr kumimoji="0" lang="fr-FR" altLang="fr-FR" sz="2100" b="0" i="0" u="none" strike="noStrike" cap="none" normalizeH="0" baseline="0" dirty="0">
                <a:ln>
                  <a:noFill/>
                </a:ln>
                <a:solidFill>
                  <a:srgbClr val="222222"/>
                </a:solidFill>
                <a:effectLst/>
                <a:latin typeface="inherit"/>
              </a:rPr>
              <a:t> doivent être équilibrés de charge à l'aide d'étiquettes</a:t>
            </a:r>
            <a:r>
              <a:rPr lang="fr-FR" altLang="fr-FR" sz="2100" dirty="0">
                <a:solidFill>
                  <a:srgbClr val="222222"/>
                </a:solidFill>
                <a:latin typeface="inherit"/>
              </a:rPr>
              <a:t> (labels)</a:t>
            </a:r>
            <a:endParaRPr lang="fr-FR" altLang="fr-FR" sz="800" b="0" i="0" u="none" strike="noStrike" cap="none" normalizeH="0" baseline="0" dirty="0">
              <a:ln>
                <a:noFill/>
              </a:ln>
              <a:solidFill>
                <a:schemeClr val="tx1"/>
              </a:solidFill>
              <a:effectLst/>
              <a:latin typeface="Verdana"/>
              <a:ea typeface="Verdana"/>
              <a:cs typeface="Verdana"/>
            </a:endParaRPr>
          </a:p>
        </p:txBody>
      </p:sp>
    </p:spTree>
    <p:extLst>
      <p:ext uri="{BB962C8B-B14F-4D97-AF65-F5344CB8AC3E}">
        <p14:creationId xmlns:p14="http://schemas.microsoft.com/office/powerpoint/2010/main" val="42930623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endParaRPr lang="fr-FR" dirty="0"/>
          </a:p>
        </p:txBody>
      </p:sp>
      <p:sp>
        <p:nvSpPr>
          <p:cNvPr id="4" name="Espace réservé du texte 3"/>
          <p:cNvSpPr>
            <a:spLocks noGrp="1"/>
          </p:cNvSpPr>
          <p:nvPr>
            <p:ph type="body" sz="quarter" idx="10"/>
          </p:nvPr>
        </p:nvSpPr>
        <p:spPr/>
        <p:txBody>
          <a:bodyPr/>
          <a:lstStyle/>
          <a:p>
            <a:endParaRPr lang="fr-FR" dirty="0"/>
          </a:p>
        </p:txBody>
      </p:sp>
      <p:sp>
        <p:nvSpPr>
          <p:cNvPr id="5" name="Espace réservé du texte 4"/>
          <p:cNvSpPr>
            <a:spLocks noGrp="1"/>
          </p:cNvSpPr>
          <p:nvPr>
            <p:ph type="body" sz="quarter" idx="11"/>
          </p:nvPr>
        </p:nvSpPr>
        <p:spPr/>
        <p:txBody>
          <a:bodyPr/>
          <a:lstStyle/>
          <a:p>
            <a:endParaRPr lang="fr-FR"/>
          </a:p>
        </p:txBody>
      </p:sp>
      <p:sp>
        <p:nvSpPr>
          <p:cNvPr id="6" name="Espace réservé du texte 5"/>
          <p:cNvSpPr>
            <a:spLocks noGrp="1"/>
          </p:cNvSpPr>
          <p:nvPr>
            <p:ph type="body" sz="quarter" idx="12"/>
          </p:nvPr>
        </p:nvSpPr>
        <p:spPr/>
        <p:txBody>
          <a:bodyPr/>
          <a:lstStyle/>
          <a:p>
            <a:endParaRPr lang="fr-FR"/>
          </a:p>
        </p:txBody>
      </p:sp>
      <p:pic>
        <p:nvPicPr>
          <p:cNvPr id="7" name="Image 6" descr="Une image contenant capture d’écran&#10;&#10;Description générée automatiquement">
            <a:extLst>
              <a:ext uri="{FF2B5EF4-FFF2-40B4-BE49-F238E27FC236}">
                <a16:creationId xmlns:a16="http://schemas.microsoft.com/office/drawing/2014/main" id="{F46CE05C-CCB5-446B-BDAE-06A6B53838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518" y="1957109"/>
            <a:ext cx="10833657" cy="4419827"/>
          </a:xfrm>
          <a:prstGeom prst="rect">
            <a:avLst/>
          </a:prstGeom>
        </p:spPr>
      </p:pic>
    </p:spTree>
    <p:extLst>
      <p:ext uri="{BB962C8B-B14F-4D97-AF65-F5344CB8AC3E}">
        <p14:creationId xmlns:p14="http://schemas.microsoft.com/office/powerpoint/2010/main" val="29565509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927" name="think-cell Slide" r:id="rId4" imgW="270" imgH="270" progId="TCLayout.ActiveDocument.1">
                  <p:embed/>
                </p:oleObj>
              </mc:Choice>
              <mc:Fallback>
                <p:oleObj name="think-cell Slide" r:id="rId4" imgW="270" imgH="270" progId="TCLayout.ActiveDocument.1">
                  <p:embed/>
                  <p:pic>
                    <p:nvPicPr>
                      <p:cNvPr id="63" name="Object 6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145712"/>
            <a:ext cx="4926143" cy="43545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61"/>
          <p:cNvSpPr/>
          <p:nvPr/>
        </p:nvSpPr>
        <p:spPr>
          <a:xfrm>
            <a:off x="6622757" y="2145712"/>
            <a:ext cx="4926142" cy="43545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p:cNvSpPr>
            <a:spLocks noGrp="1"/>
          </p:cNvSpPr>
          <p:nvPr>
            <p:ph type="title"/>
          </p:nvPr>
        </p:nvSpPr>
        <p:spPr>
          <a:xfrm>
            <a:off x="9636" y="0"/>
            <a:ext cx="12186592" cy="1104900"/>
          </a:xfrm>
        </p:spPr>
        <p:txBody>
          <a:bodyPr/>
          <a:lstStyle/>
          <a:p>
            <a:pPr algn="ctr"/>
            <a:r>
              <a:rPr lang="en-US" dirty="0" err="1"/>
              <a:t>Microservices</a:t>
            </a:r>
            <a:r>
              <a:rPr lang="en-US" dirty="0"/>
              <a:t> vs Monolith</a:t>
            </a:r>
            <a:endParaRPr lang="fr-FR" dirty="0"/>
          </a:p>
        </p:txBody>
      </p:sp>
      <p:sp>
        <p:nvSpPr>
          <p:cNvPr id="65" name="Text Placeholder 9">
            <a:extLst>
              <a:ext uri="{FF2B5EF4-FFF2-40B4-BE49-F238E27FC236}">
                <a16:creationId xmlns:a16="http://schemas.microsoft.com/office/drawing/2014/main" id="{7FB3716E-9382-4C5B-89D8-7D3D309649B1}"/>
              </a:ext>
            </a:extLst>
          </p:cNvPr>
          <p:cNvSpPr txBox="1">
            <a:spLocks/>
          </p:cNvSpPr>
          <p:nvPr/>
        </p:nvSpPr>
        <p:spPr>
          <a:xfrm>
            <a:off x="944433" y="2239633"/>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a:solidFill>
                  <a:srgbClr val="12ABDB"/>
                </a:solidFill>
                <a:latin typeface="Verdana"/>
                <a:ea typeface="Verdana"/>
                <a:cs typeface="Verdana"/>
              </a:rPr>
              <a:t>Avantages</a:t>
            </a:r>
            <a:endParaRPr kumimoji="0" lang="pt-PT" b="1"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6" name="Text Placeholder 10">
            <a:extLst>
              <a:ext uri="{FF2B5EF4-FFF2-40B4-BE49-F238E27FC236}">
                <a16:creationId xmlns:a16="http://schemas.microsoft.com/office/drawing/2014/main" id="{E2F5E3C3-8C95-4F9C-8370-0A1C87237CA8}"/>
              </a:ext>
            </a:extLst>
          </p:cNvPr>
          <p:cNvSpPr txBox="1">
            <a:spLocks/>
          </p:cNvSpPr>
          <p:nvPr/>
        </p:nvSpPr>
        <p:spPr>
          <a:xfrm>
            <a:off x="944434" y="2874717"/>
            <a:ext cx="3824550" cy="1983351"/>
          </a:xfrm>
          <a:prstGeom prst="rect">
            <a:avLst/>
          </a:prstGeom>
        </p:spPr>
        <p:txBody>
          <a:bodyPr vert="horz" lIns="0" tIns="0" rIns="0" bIns="0" rtlCol="0" anchor="t">
            <a:noAutofit/>
          </a:bodyPr>
          <a:lstStyle/>
          <a:p>
            <a:pPr marL="171450" indent="-171450">
              <a:spcBef>
                <a:spcPts val="200"/>
              </a:spcBef>
              <a:buClr>
                <a:schemeClr val="accent1"/>
              </a:buClr>
              <a:buFont typeface="Arial" panose="020B0604020202020204" pitchFamily="34" charset="0"/>
              <a:buChar char="•"/>
              <a:defRPr/>
            </a:pPr>
            <a:r>
              <a:rPr lang="en-US" sz="1400">
                <a:solidFill>
                  <a:schemeClr val="tx2">
                    <a:lumMod val="50000"/>
                  </a:schemeClr>
                </a:solidFill>
                <a:ea typeface="Verdana"/>
                <a:cs typeface="Verdana"/>
              </a:rPr>
              <a:t>Facilite la mise à l'échelle (Scaling)</a:t>
            </a:r>
          </a:p>
          <a:p>
            <a:pPr marL="171450" indent="-171450">
              <a:spcBef>
                <a:spcPts val="200"/>
              </a:spcBef>
              <a:buClr>
                <a:schemeClr val="accent1"/>
              </a:buClr>
              <a:buFont typeface="Arial" panose="020B0604020202020204" pitchFamily="34" charset="0"/>
              <a:buChar char="•"/>
              <a:defRPr/>
            </a:pPr>
            <a:r>
              <a:rPr lang="en-US" sz="1400">
                <a:solidFill>
                  <a:schemeClr val="tx2">
                    <a:lumMod val="50000"/>
                  </a:schemeClr>
                </a:solidFill>
                <a:ea typeface="Verdana"/>
                <a:cs typeface="Verdana"/>
              </a:rPr>
              <a:t>Agnostique (Non lié à une technologie)</a:t>
            </a:r>
          </a:p>
          <a:p>
            <a:pPr marL="171450" indent="-171450">
              <a:spcBef>
                <a:spcPts val="200"/>
              </a:spcBef>
              <a:buClr>
                <a:schemeClr val="accent1"/>
              </a:buClr>
              <a:buFont typeface="Arial" panose="020B0604020202020204" pitchFamily="34" charset="0"/>
              <a:buChar char="•"/>
              <a:defRPr/>
            </a:pPr>
            <a:r>
              <a:rPr lang="en-US" sz="1400">
                <a:solidFill>
                  <a:schemeClr val="tx2">
                    <a:lumMod val="50000"/>
                  </a:schemeClr>
                </a:solidFill>
                <a:ea typeface="Verdana"/>
                <a:cs typeface="Verdana"/>
              </a:rPr>
              <a:t>Apporte de la flexibilité</a:t>
            </a:r>
          </a:p>
          <a:p>
            <a:pPr marL="171450" indent="-171450">
              <a:spcBef>
                <a:spcPts val="200"/>
              </a:spcBef>
              <a:buClr>
                <a:schemeClr val="accent1"/>
              </a:buClr>
              <a:buFont typeface="Arial" panose="020B0604020202020204" pitchFamily="34" charset="0"/>
              <a:buChar char="•"/>
              <a:defRPr/>
            </a:pPr>
            <a:r>
              <a:rPr lang="en-US" sz="1400">
                <a:solidFill>
                  <a:schemeClr val="tx2">
                    <a:lumMod val="50000"/>
                  </a:schemeClr>
                </a:solidFill>
                <a:ea typeface="Verdana"/>
                <a:cs typeface="Verdana"/>
              </a:rPr>
              <a:t>Pas de SPOF (Single Point Of Failure)</a:t>
            </a:r>
          </a:p>
          <a:p>
            <a:pPr marL="171450" indent="-171450">
              <a:spcBef>
                <a:spcPts val="200"/>
              </a:spcBef>
              <a:buClr>
                <a:schemeClr val="accent1"/>
              </a:buClr>
              <a:buFont typeface="Arial" panose="020B0604020202020204" pitchFamily="34" charset="0"/>
              <a:buChar char="•"/>
              <a:defRPr/>
            </a:pPr>
            <a:r>
              <a:rPr lang="en-US" sz="1400">
                <a:solidFill>
                  <a:schemeClr val="tx2">
                    <a:lumMod val="50000"/>
                  </a:schemeClr>
                </a:solidFill>
                <a:ea typeface="Verdana"/>
                <a:cs typeface="Verdana"/>
              </a:rPr>
              <a:t>Aide le développeur à comprendre sa partie du système à développer</a:t>
            </a:r>
          </a:p>
          <a:p>
            <a:pPr marL="171450" indent="-171450">
              <a:spcBef>
                <a:spcPts val="200"/>
              </a:spcBef>
              <a:buClr>
                <a:schemeClr val="accent1"/>
              </a:buClr>
              <a:buFont typeface="Arial" panose="020B0604020202020204" pitchFamily="34" charset="0"/>
              <a:buChar char="•"/>
              <a:defRPr/>
            </a:pPr>
            <a:endParaRPr lang="en-US" sz="1400">
              <a:solidFill>
                <a:schemeClr val="tx2">
                  <a:lumMod val="50000"/>
                </a:schemeClr>
              </a:solidFill>
              <a:ea typeface="Verdana"/>
              <a:cs typeface="Verdana"/>
            </a:endParaRPr>
          </a:p>
        </p:txBody>
      </p:sp>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6933159" y="2239633"/>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a:solidFill>
                  <a:srgbClr val="12ABDB"/>
                </a:solidFill>
                <a:latin typeface="Verdana"/>
                <a:ea typeface="Verdana"/>
                <a:cs typeface="Verdana"/>
              </a:rPr>
              <a:t>Avantages</a:t>
            </a:r>
          </a:p>
        </p:txBody>
      </p:sp>
      <p:sp>
        <p:nvSpPr>
          <p:cNvPr id="70" name="Text Placeholder 10">
            <a:extLst>
              <a:ext uri="{FF2B5EF4-FFF2-40B4-BE49-F238E27FC236}">
                <a16:creationId xmlns:a16="http://schemas.microsoft.com/office/drawing/2014/main" id="{E2F5E3C3-8C95-4F9C-8370-0A1C87237CA8}"/>
              </a:ext>
            </a:extLst>
          </p:cNvPr>
          <p:cNvSpPr txBox="1">
            <a:spLocks/>
          </p:cNvSpPr>
          <p:nvPr/>
        </p:nvSpPr>
        <p:spPr>
          <a:xfrm>
            <a:off x="7032946" y="2885015"/>
            <a:ext cx="2890193" cy="1505263"/>
          </a:xfrm>
          <a:prstGeom prst="rect">
            <a:avLst/>
          </a:prstGeom>
        </p:spPr>
        <p:txBody>
          <a:bodyPr vert="horz" lIns="0" tIns="0" rIns="0" bIns="0" rtlCol="0" anchor="t">
            <a:noAutofit/>
          </a:bodyPr>
          <a:lstStyle/>
          <a:p>
            <a:pPr marL="171450" indent="-171450">
              <a:spcBef>
                <a:spcPts val="200"/>
              </a:spcBef>
              <a:buClr>
                <a:schemeClr val="accent1"/>
              </a:buClr>
              <a:buFont typeface="Arial" panose="020B0604020202020204" pitchFamily="34" charset="0"/>
              <a:buChar char="•"/>
              <a:defRPr/>
            </a:pPr>
            <a:r>
              <a:rPr lang="en-US" sz="1400">
                <a:solidFill>
                  <a:schemeClr val="tx2">
                    <a:lumMod val="50000"/>
                  </a:schemeClr>
                </a:solidFill>
                <a:latin typeface="Verdana"/>
                <a:ea typeface="Verdana"/>
                <a:cs typeface="Verdana"/>
              </a:rPr>
              <a:t>Simple à </a:t>
            </a:r>
            <a:r>
              <a:rPr lang="en-US" sz="1400" err="1">
                <a:solidFill>
                  <a:schemeClr val="tx2">
                    <a:lumMod val="50000"/>
                  </a:schemeClr>
                </a:solidFill>
                <a:latin typeface="Verdana"/>
                <a:ea typeface="Verdana"/>
                <a:cs typeface="Verdana"/>
              </a:rPr>
              <a:t>déployer</a:t>
            </a:r>
          </a:p>
          <a:p>
            <a:pPr marL="171450" indent="-171450">
              <a:spcBef>
                <a:spcPts val="200"/>
              </a:spcBef>
              <a:buClr>
                <a:schemeClr val="accent1"/>
              </a:buClr>
              <a:buFont typeface="Arial" panose="020B0604020202020204" pitchFamily="34" charset="0"/>
              <a:buChar char="•"/>
              <a:defRPr/>
            </a:pPr>
            <a:r>
              <a:rPr lang="en-US" sz="1400">
                <a:solidFill>
                  <a:schemeClr val="tx2">
                    <a:lumMod val="50000"/>
                  </a:schemeClr>
                </a:solidFill>
                <a:latin typeface="Verdana"/>
                <a:ea typeface="Verdana"/>
                <a:cs typeface="Verdana"/>
              </a:rPr>
              <a:t>Monitoring et gestion des bugs plus facile</a:t>
            </a:r>
            <a:endParaRPr lang="en-US" sz="140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defRPr/>
            </a:pPr>
            <a:r>
              <a:rPr lang="en-US" sz="1400" err="1">
                <a:solidFill>
                  <a:schemeClr val="tx2">
                    <a:lumMod val="50000"/>
                  </a:schemeClr>
                </a:solidFill>
                <a:latin typeface="Verdana"/>
                <a:ea typeface="Verdana"/>
                <a:cs typeface="Verdana"/>
              </a:rPr>
              <a:t>Simplifie</a:t>
            </a:r>
            <a:r>
              <a:rPr lang="en-US" sz="1400">
                <a:solidFill>
                  <a:schemeClr val="tx2">
                    <a:lumMod val="50000"/>
                  </a:schemeClr>
                </a:solidFill>
                <a:latin typeface="Verdana"/>
                <a:ea typeface="Verdana"/>
                <a:cs typeface="Verdana"/>
              </a:rPr>
              <a:t> la </a:t>
            </a:r>
            <a:r>
              <a:rPr lang="en-US" sz="1400" err="1">
                <a:solidFill>
                  <a:schemeClr val="tx2">
                    <a:lumMod val="50000"/>
                  </a:schemeClr>
                </a:solidFill>
                <a:latin typeface="Verdana"/>
                <a:ea typeface="Verdana"/>
                <a:cs typeface="Verdana"/>
              </a:rPr>
              <a:t>réutilisation</a:t>
            </a:r>
            <a:r>
              <a:rPr lang="en-US" sz="1400">
                <a:solidFill>
                  <a:schemeClr val="tx2">
                    <a:lumMod val="50000"/>
                  </a:schemeClr>
                </a:solidFill>
                <a:latin typeface="Verdana"/>
                <a:ea typeface="Verdana"/>
                <a:cs typeface="Verdana"/>
              </a:rPr>
              <a:t> du code</a:t>
            </a:r>
          </a:p>
        </p:txBody>
      </p:sp>
      <p:pic>
        <p:nvPicPr>
          <p:cNvPr id="2" name="Image 2" descr="Une image contenant alimentation&#10;&#10;Description générée automatiquement">
            <a:extLst>
              <a:ext uri="{FF2B5EF4-FFF2-40B4-BE49-F238E27FC236}">
                <a16:creationId xmlns:a16="http://schemas.microsoft.com/office/drawing/2014/main" id="{1315B113-4E05-488D-AF3B-7003CED75A48}"/>
              </a:ext>
            </a:extLst>
          </p:cNvPr>
          <p:cNvPicPr>
            <a:picLocks noChangeAspect="1"/>
          </p:cNvPicPr>
          <p:nvPr/>
        </p:nvPicPr>
        <p:blipFill>
          <a:blip r:embed="rId6"/>
          <a:stretch>
            <a:fillRect/>
          </a:stretch>
        </p:blipFill>
        <p:spPr>
          <a:xfrm>
            <a:off x="2712131" y="900113"/>
            <a:ext cx="1206954" cy="1147990"/>
          </a:xfrm>
          <a:prstGeom prst="rect">
            <a:avLst/>
          </a:prstGeom>
        </p:spPr>
      </p:pic>
      <p:pic>
        <p:nvPicPr>
          <p:cNvPr id="3" name="Image 3" descr="Une image contenant dessin&#10;&#10;Description générée automatiquement">
            <a:extLst>
              <a:ext uri="{FF2B5EF4-FFF2-40B4-BE49-F238E27FC236}">
                <a16:creationId xmlns:a16="http://schemas.microsoft.com/office/drawing/2014/main" id="{E1B76F49-2522-4488-8FCC-22D0E8D9A680}"/>
              </a:ext>
            </a:extLst>
          </p:cNvPr>
          <p:cNvPicPr>
            <a:picLocks noChangeAspect="1"/>
          </p:cNvPicPr>
          <p:nvPr/>
        </p:nvPicPr>
        <p:blipFill>
          <a:blip r:embed="rId7"/>
          <a:stretch>
            <a:fillRect/>
          </a:stretch>
        </p:blipFill>
        <p:spPr>
          <a:xfrm>
            <a:off x="8478157" y="857704"/>
            <a:ext cx="1213758" cy="1241879"/>
          </a:xfrm>
          <a:prstGeom prst="rect">
            <a:avLst/>
          </a:prstGeom>
        </p:spPr>
      </p:pic>
      <p:sp>
        <p:nvSpPr>
          <p:cNvPr id="28" name="Text Placeholder 9">
            <a:extLst>
              <a:ext uri="{FF2B5EF4-FFF2-40B4-BE49-F238E27FC236}">
                <a16:creationId xmlns:a16="http://schemas.microsoft.com/office/drawing/2014/main" id="{364FE169-4B1E-46B3-A60D-6D662FAF7E14}"/>
              </a:ext>
            </a:extLst>
          </p:cNvPr>
          <p:cNvSpPr txBox="1">
            <a:spLocks/>
          </p:cNvSpPr>
          <p:nvPr/>
        </p:nvSpPr>
        <p:spPr>
          <a:xfrm>
            <a:off x="890004" y="4589132"/>
            <a:ext cx="2890194" cy="645047"/>
          </a:xfrm>
          <a:prstGeom prst="rect">
            <a:avLst/>
          </a:prstGeom>
          <a:noFill/>
        </p:spPr>
        <p:txBody>
          <a:bodyPr vert="horz" lIns="0" tIns="0" rIns="0" bIns="0" rtlCol="0" anchor="ctr">
            <a:noAutofit/>
          </a:bodyPr>
          <a:lstStyle/>
          <a:p>
            <a:pPr>
              <a:lnSpc>
                <a:spcPct val="90000"/>
              </a:lnSpc>
              <a:spcBef>
                <a:spcPts val="1000"/>
              </a:spcBef>
              <a:defRPr/>
            </a:pPr>
            <a:r>
              <a:rPr lang="pt-PT" b="1">
                <a:solidFill>
                  <a:srgbClr val="12ABDB"/>
                </a:solidFill>
                <a:latin typeface="Verdana"/>
                <a:ea typeface="Verdana"/>
                <a:cs typeface="Verdana"/>
              </a:rPr>
              <a:t>Points à surveiller</a:t>
            </a:r>
            <a:endParaRPr kumimoji="0" lang="pt-PT" b="1"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9" name="Text Placeholder 9">
            <a:extLst>
              <a:ext uri="{FF2B5EF4-FFF2-40B4-BE49-F238E27FC236}">
                <a16:creationId xmlns:a16="http://schemas.microsoft.com/office/drawing/2014/main" id="{8D3CCBEC-D62E-49FD-93C8-5C48C6EAF81E}"/>
              </a:ext>
            </a:extLst>
          </p:cNvPr>
          <p:cNvSpPr txBox="1">
            <a:spLocks/>
          </p:cNvSpPr>
          <p:nvPr/>
        </p:nvSpPr>
        <p:spPr>
          <a:xfrm>
            <a:off x="6929859" y="4540587"/>
            <a:ext cx="2890194" cy="645047"/>
          </a:xfrm>
          <a:prstGeom prst="rect">
            <a:avLst/>
          </a:prstGeom>
          <a:noFill/>
        </p:spPr>
        <p:txBody>
          <a:bodyPr vert="horz" lIns="0" tIns="0" rIns="0" bIns="0" rtlCol="0" anchor="ctr">
            <a:noAutofit/>
          </a:bodyPr>
          <a:lstStyle/>
          <a:p>
            <a:pPr>
              <a:lnSpc>
                <a:spcPct val="90000"/>
              </a:lnSpc>
              <a:spcBef>
                <a:spcPts val="1000"/>
              </a:spcBef>
              <a:defRPr/>
            </a:pPr>
            <a:r>
              <a:rPr lang="pt-PT" b="1">
                <a:solidFill>
                  <a:srgbClr val="12ABDB"/>
                </a:solidFill>
                <a:latin typeface="Verdana"/>
                <a:ea typeface="Verdana"/>
                <a:cs typeface="Verdana"/>
              </a:rPr>
              <a:t>Points à surveiller</a:t>
            </a:r>
            <a:endParaRPr kumimoji="0" lang="pt-PT" b="1" i="0" u="none" strike="noStrike" kern="1200" cap="none" spc="0" normalizeH="0" baseline="0" noProof="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0" name="Text Placeholder 10">
            <a:extLst>
              <a:ext uri="{FF2B5EF4-FFF2-40B4-BE49-F238E27FC236}">
                <a16:creationId xmlns:a16="http://schemas.microsoft.com/office/drawing/2014/main" id="{5F6B43DE-4A95-40C0-AF6F-5F6CC10D4C39}"/>
              </a:ext>
            </a:extLst>
          </p:cNvPr>
          <p:cNvSpPr txBox="1">
            <a:spLocks/>
          </p:cNvSpPr>
          <p:nvPr/>
        </p:nvSpPr>
        <p:spPr>
          <a:xfrm>
            <a:off x="946017" y="5287717"/>
            <a:ext cx="2890193" cy="1212280"/>
          </a:xfrm>
          <a:prstGeom prst="rect">
            <a:avLst/>
          </a:prstGeom>
        </p:spPr>
        <p:txBody>
          <a:bodyPr vert="horz" lIns="0" tIns="0" rIns="0" bIns="0" rtlCol="0" anchor="t">
            <a:noAutofit/>
          </a:bodyPr>
          <a:lstStyle/>
          <a:p>
            <a:pPr marL="171450" indent="-171450">
              <a:spcBef>
                <a:spcPts val="200"/>
              </a:spcBef>
              <a:buClr>
                <a:schemeClr val="accent1"/>
              </a:buClr>
              <a:buFont typeface="Arial" panose="020B0604020202020204" pitchFamily="34" charset="0"/>
              <a:buChar char="•"/>
              <a:defRPr/>
            </a:pPr>
            <a:r>
              <a:rPr lang="en-US" sz="1400">
                <a:solidFill>
                  <a:schemeClr val="tx2">
                    <a:lumMod val="50000"/>
                  </a:schemeClr>
                </a:solidFill>
                <a:latin typeface="Verdana"/>
                <a:ea typeface="Verdana"/>
                <a:cs typeface="Verdana"/>
              </a:rPr>
              <a:t>Amène de la complexité</a:t>
            </a:r>
          </a:p>
          <a:p>
            <a:pPr marL="171450" indent="-171450">
              <a:spcBef>
                <a:spcPts val="200"/>
              </a:spcBef>
              <a:buClr>
                <a:schemeClr val="accent1"/>
              </a:buClr>
              <a:buFont typeface="Arial" panose="020B0604020202020204" pitchFamily="34" charset="0"/>
              <a:buChar char="•"/>
              <a:defRPr/>
            </a:pPr>
            <a:r>
              <a:rPr lang="en-US" sz="1400">
                <a:solidFill>
                  <a:schemeClr val="tx2">
                    <a:lumMod val="50000"/>
                  </a:schemeClr>
                </a:solidFill>
                <a:latin typeface="Verdana"/>
                <a:ea typeface="Verdana"/>
                <a:cs typeface="Verdana"/>
              </a:rPr>
              <a:t>Latence Réseau</a:t>
            </a:r>
            <a:endParaRPr lang="en-US" sz="140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a:p>
            <a:pPr>
              <a:spcBef>
                <a:spcPts val="200"/>
              </a:spcBef>
              <a:buClr>
                <a:schemeClr val="accent1"/>
              </a:buClr>
              <a:defRPr/>
            </a:pPr>
            <a:endParaRPr lang="en-US" sz="1400">
              <a:solidFill>
                <a:schemeClr val="tx2">
                  <a:lumMod val="50000"/>
                </a:schemeClr>
              </a:solidFill>
              <a:latin typeface="Verdana"/>
              <a:ea typeface="Verdana"/>
              <a:cs typeface="Verdana"/>
            </a:endParaRPr>
          </a:p>
          <a:p>
            <a:pPr marL="171450" lvl="0" indent="-171450">
              <a:spcBef>
                <a:spcPts val="200"/>
              </a:spcBef>
              <a:buClr>
                <a:schemeClr val="accent1"/>
              </a:buClr>
              <a:buFont typeface="Arial" panose="020B0604020202020204" pitchFamily="34" charset="0"/>
              <a:buChar char="•"/>
              <a:defRPr/>
            </a:pPr>
            <a:endParaRPr lang="en-US" sz="1400">
              <a:solidFill>
                <a:schemeClr val="tx2">
                  <a:lumMod val="50000"/>
                </a:schemeClr>
              </a:solidFill>
              <a:latin typeface="Verdana"/>
              <a:ea typeface="Verdana"/>
              <a:cs typeface="Verdana"/>
            </a:endParaRPr>
          </a:p>
        </p:txBody>
      </p:sp>
      <p:sp>
        <p:nvSpPr>
          <p:cNvPr id="31" name="Text Placeholder 10">
            <a:extLst>
              <a:ext uri="{FF2B5EF4-FFF2-40B4-BE49-F238E27FC236}">
                <a16:creationId xmlns:a16="http://schemas.microsoft.com/office/drawing/2014/main" id="{A8141064-FFF6-4954-9999-2838AD9C0B00}"/>
              </a:ext>
            </a:extLst>
          </p:cNvPr>
          <p:cNvSpPr txBox="1">
            <a:spLocks/>
          </p:cNvSpPr>
          <p:nvPr/>
        </p:nvSpPr>
        <p:spPr>
          <a:xfrm>
            <a:off x="7012350" y="5184743"/>
            <a:ext cx="4142050" cy="1212280"/>
          </a:xfrm>
          <a:prstGeom prst="rect">
            <a:avLst/>
          </a:prstGeom>
        </p:spPr>
        <p:txBody>
          <a:bodyPr vert="horz" lIns="0" tIns="0" rIns="0" bIns="0" rtlCol="0" anchor="t">
            <a:noAutofit/>
          </a:bodyPr>
          <a:lstStyle/>
          <a:p>
            <a:pPr marL="171450" indent="-171450">
              <a:spcBef>
                <a:spcPts val="200"/>
              </a:spcBef>
              <a:buClr>
                <a:schemeClr val="accent1"/>
              </a:buClr>
              <a:buFont typeface="Arial" panose="020B0604020202020204" pitchFamily="34" charset="0"/>
              <a:buChar char="•"/>
              <a:defRPr/>
            </a:pPr>
            <a:r>
              <a:rPr lang="en-US" sz="1400">
                <a:solidFill>
                  <a:schemeClr val="tx2">
                    <a:lumMod val="50000"/>
                  </a:schemeClr>
                </a:solidFill>
                <a:latin typeface="Verdana"/>
                <a:ea typeface="Verdana"/>
                <a:cs typeface="Verdana"/>
              </a:rPr>
              <a:t>Peu agile</a:t>
            </a:r>
          </a:p>
          <a:p>
            <a:pPr marL="171450" indent="-171450">
              <a:spcBef>
                <a:spcPts val="200"/>
              </a:spcBef>
              <a:buClr>
                <a:schemeClr val="accent1"/>
              </a:buClr>
              <a:buFont typeface="Arial" panose="020B0604020202020204" pitchFamily="34" charset="0"/>
              <a:buChar char="•"/>
              <a:defRPr/>
            </a:pPr>
            <a:r>
              <a:rPr lang="en-US" sz="1400">
                <a:solidFill>
                  <a:schemeClr val="tx2">
                    <a:lumMod val="50000"/>
                  </a:schemeClr>
                </a:solidFill>
                <a:latin typeface="Verdana"/>
                <a:ea typeface="Verdana"/>
                <a:cs typeface="Verdana"/>
              </a:rPr>
              <a:t>Changement dans le code peut provoquer des bugs en cascade</a:t>
            </a:r>
          </a:p>
          <a:p>
            <a:pPr marL="171450" indent="-171450">
              <a:spcBef>
                <a:spcPts val="200"/>
              </a:spcBef>
              <a:buClr>
                <a:schemeClr val="accent1"/>
              </a:buClr>
              <a:buFont typeface="Arial" panose="020B0604020202020204" pitchFamily="34" charset="0"/>
              <a:buChar char="•"/>
              <a:defRPr/>
            </a:pPr>
            <a:r>
              <a:rPr lang="en-US" sz="1400">
                <a:solidFill>
                  <a:schemeClr val="tx2">
                    <a:lumMod val="50000"/>
                  </a:schemeClr>
                </a:solidFill>
                <a:latin typeface="Verdana"/>
                <a:ea typeface="Verdana"/>
                <a:cs typeface="Verdana"/>
              </a:rPr>
              <a:t>Difficulté à répartir les tâches pour les devs</a:t>
            </a:r>
            <a:endParaRPr lang="en-US" sz="140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a:p>
            <a:pPr>
              <a:spcBef>
                <a:spcPts val="200"/>
              </a:spcBef>
              <a:buClr>
                <a:schemeClr val="accent1"/>
              </a:buClr>
              <a:defRPr/>
            </a:pPr>
            <a:endParaRPr lang="en-US" sz="1400">
              <a:solidFill>
                <a:schemeClr val="tx2">
                  <a:lumMod val="50000"/>
                </a:schemeClr>
              </a:solidFill>
              <a:latin typeface="Verdana"/>
              <a:ea typeface="Verdana"/>
              <a:cs typeface="Verdana"/>
            </a:endParaRPr>
          </a:p>
          <a:p>
            <a:pPr lvl="0">
              <a:spcBef>
                <a:spcPts val="200"/>
              </a:spcBef>
              <a:buClr>
                <a:schemeClr val="accent1"/>
              </a:buClr>
              <a:defRPr/>
            </a:pPr>
            <a:endParaRPr lang="en-US" sz="1400">
              <a:solidFill>
                <a:schemeClr val="tx2">
                  <a:lumMod val="50000"/>
                </a:schemeClr>
              </a:solidFill>
              <a:latin typeface="Verdana"/>
              <a:ea typeface="Verdana"/>
              <a:cs typeface="Verdana"/>
            </a:endParaRPr>
          </a:p>
          <a:p>
            <a:pPr marL="171450" indent="-171450">
              <a:spcBef>
                <a:spcPts val="200"/>
              </a:spcBef>
              <a:buClr>
                <a:schemeClr val="accent1"/>
              </a:buClr>
              <a:buFont typeface="Arial" panose="020B0604020202020204" pitchFamily="34" charset="0"/>
              <a:buChar char="•"/>
              <a:defRPr/>
            </a:pPr>
            <a:endParaRPr lang="en-US" sz="1400">
              <a:solidFill>
                <a:schemeClr val="tx2">
                  <a:lumMod val="50000"/>
                </a:schemeClr>
              </a:solidFill>
              <a:latin typeface="Verdana"/>
              <a:ea typeface="Verdana"/>
              <a:cs typeface="Verdana"/>
            </a:endParaRPr>
          </a:p>
        </p:txBody>
      </p:sp>
    </p:spTree>
    <p:extLst>
      <p:ext uri="{BB962C8B-B14F-4D97-AF65-F5344CB8AC3E}">
        <p14:creationId xmlns:p14="http://schemas.microsoft.com/office/powerpoint/2010/main" val="10975833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DA94B7C-5175-4E09-B033-6C398B200722}"/>
              </a:ext>
            </a:extLst>
          </p:cNvPr>
          <p:cNvSpPr>
            <a:spLocks noGrp="1"/>
          </p:cNvSpPr>
          <p:nvPr>
            <p:ph type="title"/>
          </p:nvPr>
        </p:nvSpPr>
        <p:spPr>
          <a:xfrm>
            <a:off x="247402" y="0"/>
            <a:ext cx="11476156" cy="824164"/>
          </a:xfrm>
        </p:spPr>
        <p:txBody>
          <a:bodyPr/>
          <a:lstStyle/>
          <a:p>
            <a:r>
              <a:rPr lang="fr-FR" sz="2800">
                <a:ea typeface="Verdana"/>
                <a:cs typeface="Verdana"/>
              </a:rPr>
              <a:t>Comparaison d'une application en monolithe et Microservices</a:t>
            </a:r>
            <a:endParaRPr lang="fr-FR" sz="2800"/>
          </a:p>
        </p:txBody>
      </p:sp>
      <p:pic>
        <p:nvPicPr>
          <p:cNvPr id="4" name="Image 4" descr="Une image contenant capture d’écran&#10;&#10;Description générée automatiquement">
            <a:extLst>
              <a:ext uri="{FF2B5EF4-FFF2-40B4-BE49-F238E27FC236}">
                <a16:creationId xmlns:a16="http://schemas.microsoft.com/office/drawing/2014/main" id="{EDD4F1E6-3736-436B-A174-333ECB2F7381}"/>
              </a:ext>
            </a:extLst>
          </p:cNvPr>
          <p:cNvPicPr>
            <a:picLocks noChangeAspect="1"/>
          </p:cNvPicPr>
          <p:nvPr/>
        </p:nvPicPr>
        <p:blipFill>
          <a:blip r:embed="rId2"/>
          <a:stretch>
            <a:fillRect/>
          </a:stretch>
        </p:blipFill>
        <p:spPr>
          <a:xfrm>
            <a:off x="1766637" y="1079176"/>
            <a:ext cx="8648699" cy="5110727"/>
          </a:xfrm>
          <a:prstGeom prst="rect">
            <a:avLst/>
          </a:prstGeom>
        </p:spPr>
      </p:pic>
    </p:spTree>
    <p:extLst>
      <p:ext uri="{BB962C8B-B14F-4D97-AF65-F5344CB8AC3E}">
        <p14:creationId xmlns:p14="http://schemas.microsoft.com/office/powerpoint/2010/main" val="3106979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948D75D1-CADF-4F96-AEC3-ED8359CC3AE1}"/>
              </a:ext>
            </a:extLst>
          </p:cNvPr>
          <p:cNvSpPr>
            <a:spLocks noGrp="1"/>
          </p:cNvSpPr>
          <p:nvPr>
            <p:ph type="body" sz="quarter" idx="13"/>
          </p:nvPr>
        </p:nvSpPr>
        <p:spPr/>
        <p:txBody>
          <a:bodyPr/>
          <a:lstStyle/>
          <a:p>
            <a:r>
              <a:rPr lang="fr-FR" dirty="0">
                <a:ea typeface="Verdana"/>
                <a:cs typeface="Verdana"/>
              </a:rPr>
              <a:t>Définition: </a:t>
            </a:r>
            <a:endParaRPr lang="fr-FR" dirty="0"/>
          </a:p>
        </p:txBody>
      </p:sp>
      <p:sp>
        <p:nvSpPr>
          <p:cNvPr id="6" name="Espace réservé du texte 5"/>
          <p:cNvSpPr>
            <a:spLocks noGrp="1"/>
          </p:cNvSpPr>
          <p:nvPr>
            <p:ph type="body" sz="quarter" idx="10"/>
          </p:nvPr>
        </p:nvSpPr>
        <p:spPr>
          <a:xfrm>
            <a:off x="782080" y="4344096"/>
            <a:ext cx="10705069" cy="2113853"/>
          </a:xfrm>
        </p:spPr>
        <p:txBody>
          <a:bodyPr/>
          <a:lstStyle/>
          <a:p>
            <a:pPr algn="just">
              <a:lnSpc>
                <a:spcPct val="150000"/>
              </a:lnSpc>
            </a:pPr>
            <a:r>
              <a:rPr lang="fr-FR" dirty="0">
                <a:ea typeface="+mj-lt"/>
                <a:cs typeface="+mj-lt"/>
              </a:rPr>
              <a:t>    Un conteneur est une enveloppe virtuelle qui permet de distribuer une application avec tous les éléments dont elle a besoin pour fonctionner : fichiers source, environnement d'exécution, librairies, outils et fichiers.</a:t>
            </a:r>
          </a:p>
          <a:p>
            <a:pPr algn="just">
              <a:lnSpc>
                <a:spcPct val="150000"/>
              </a:lnSpc>
            </a:pPr>
            <a:r>
              <a:rPr lang="fr-FR" dirty="0">
                <a:ea typeface="+mj-lt"/>
                <a:cs typeface="+mj-lt"/>
              </a:rPr>
              <a:t>    Contrairement à une machine virtuelle, le conteneur n’intègre pas de noyau, il s’appuie directement sur le noyau de l'ordinateur sur lequel il est déployé.</a:t>
            </a:r>
          </a:p>
          <a:p>
            <a:pPr algn="r"/>
            <a:r>
              <a:rPr lang="fr-FR" sz="1200" i="1" u="sng" dirty="0">
                <a:ea typeface="+mj-lt"/>
                <a:cs typeface="+mj-lt"/>
              </a:rPr>
              <a:t>Source: </a:t>
            </a:r>
            <a:r>
              <a:rPr lang="fr-FR" sz="1200" i="1" u="sng" dirty="0" err="1">
                <a:ea typeface="+mj-lt"/>
                <a:cs typeface="+mj-lt"/>
              </a:rPr>
              <a:t>Wikipedia</a:t>
            </a:r>
            <a:endParaRPr lang="fr-FR" sz="1200" i="1" u="sng" dirty="0">
              <a:ea typeface="+mj-lt"/>
              <a:cs typeface="+mj-lt"/>
            </a:endParaRPr>
          </a:p>
          <a:p>
            <a:endParaRPr lang="fr-FR" dirty="0"/>
          </a:p>
        </p:txBody>
      </p:sp>
      <p:sp>
        <p:nvSpPr>
          <p:cNvPr id="7" name="ZoneTexte 6">
            <a:extLst>
              <a:ext uri="{FF2B5EF4-FFF2-40B4-BE49-F238E27FC236}">
                <a16:creationId xmlns:a16="http://schemas.microsoft.com/office/drawing/2014/main" id="{58D696FB-136C-43A2-8858-0735590039FF}"/>
              </a:ext>
            </a:extLst>
          </p:cNvPr>
          <p:cNvSpPr txBox="1"/>
          <p:nvPr/>
        </p:nvSpPr>
        <p:spPr>
          <a:xfrm>
            <a:off x="352927" y="286084"/>
            <a:ext cx="476183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sz="3600">
                <a:latin typeface="+mj-lt"/>
                <a:ea typeface="+mj-ea"/>
                <a:cs typeface="+mj-cs"/>
              </a:rPr>
              <a:t>Les conteneurs</a:t>
            </a:r>
            <a:endParaRPr lang="fr-FR" sz="3600">
              <a:latin typeface="+mj-lt"/>
              <a:ea typeface="Verdana"/>
              <a:cs typeface="Verdana"/>
            </a:endParaRPr>
          </a:p>
        </p:txBody>
      </p:sp>
    </p:spTree>
    <p:extLst>
      <p:ext uri="{BB962C8B-B14F-4D97-AF65-F5344CB8AC3E}">
        <p14:creationId xmlns:p14="http://schemas.microsoft.com/office/powerpoint/2010/main" val="3858392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70637" y="225870"/>
            <a:ext cx="8131625" cy="1276359"/>
          </a:xfrm>
        </p:spPr>
        <p:txBody>
          <a:bodyPr lIns="91440" tIns="45720" rIns="91440" bIns="45720" anchor="t">
            <a:noAutofit/>
          </a:bodyPr>
          <a:lstStyle/>
          <a:p>
            <a:r>
              <a:rPr lang="en-US" sz="3200" err="1"/>
              <a:t>Conteneurs</a:t>
            </a:r>
            <a:r>
              <a:rPr lang="en-US" sz="3200"/>
              <a:t> vs Machines </a:t>
            </a:r>
            <a:r>
              <a:rPr lang="en-US" sz="3200" err="1"/>
              <a:t>virtuelles</a:t>
            </a:r>
            <a:endParaRPr lang="en-US" sz="3200">
              <a:ea typeface="Verdana"/>
              <a:cs typeface="Verdana"/>
            </a:endParaRPr>
          </a:p>
        </p:txBody>
      </p:sp>
      <p:pic>
        <p:nvPicPr>
          <p:cNvPr id="3" name="Image 3" descr="Une image contenant capture d’écran&#10;&#10;Description générée automatiquement">
            <a:extLst>
              <a:ext uri="{FF2B5EF4-FFF2-40B4-BE49-F238E27FC236}">
                <a16:creationId xmlns:a16="http://schemas.microsoft.com/office/drawing/2014/main" id="{28E14BAD-A55C-49B3-A34B-47EC4EDC0323}"/>
              </a:ext>
            </a:extLst>
          </p:cNvPr>
          <p:cNvPicPr>
            <a:picLocks noChangeAspect="1"/>
          </p:cNvPicPr>
          <p:nvPr/>
        </p:nvPicPr>
        <p:blipFill>
          <a:blip r:embed="rId2"/>
          <a:stretch>
            <a:fillRect/>
          </a:stretch>
        </p:blipFill>
        <p:spPr>
          <a:xfrm>
            <a:off x="732972" y="1502612"/>
            <a:ext cx="10635341" cy="4369847"/>
          </a:xfrm>
          <a:prstGeom prst="rect">
            <a:avLst/>
          </a:prstGeom>
        </p:spPr>
      </p:pic>
      <p:sp>
        <p:nvSpPr>
          <p:cNvPr id="2" name="ZoneTexte 1">
            <a:extLst>
              <a:ext uri="{FF2B5EF4-FFF2-40B4-BE49-F238E27FC236}">
                <a16:creationId xmlns:a16="http://schemas.microsoft.com/office/drawing/2014/main" id="{0E5EEA90-C69A-4CC7-9868-56975D7B33FE}"/>
              </a:ext>
            </a:extLst>
          </p:cNvPr>
          <p:cNvSpPr txBox="1"/>
          <p:nvPr/>
        </p:nvSpPr>
        <p:spPr>
          <a:xfrm>
            <a:off x="732971" y="5867399"/>
            <a:ext cx="3741056"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sz="1400" i="1" u="sng" dirty="0"/>
              <a:t>Source: docker.com</a:t>
            </a:r>
            <a:endParaRPr lang="fr-FR" sz="1400" i="1" u="sng" dirty="0">
              <a:ea typeface="Verdana"/>
              <a:cs typeface="Verdana"/>
            </a:endParaRPr>
          </a:p>
        </p:txBody>
      </p:sp>
    </p:spTree>
    <p:extLst>
      <p:ext uri="{BB962C8B-B14F-4D97-AF65-F5344CB8AC3E}">
        <p14:creationId xmlns:p14="http://schemas.microsoft.com/office/powerpoint/2010/main" val="8497906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469FFBC-5FF5-4A58-A599-46AC4258762E}"/>
              </a:ext>
            </a:extLst>
          </p:cNvPr>
          <p:cNvSpPr>
            <a:spLocks noGrp="1"/>
          </p:cNvSpPr>
          <p:nvPr>
            <p:ph type="subTitle" idx="1"/>
          </p:nvPr>
        </p:nvSpPr>
        <p:spPr/>
        <p:txBody>
          <a:bodyPr/>
          <a:lstStyle/>
          <a:p>
            <a:endParaRPr lang="en-US"/>
          </a:p>
        </p:txBody>
      </p:sp>
      <p:sp>
        <p:nvSpPr>
          <p:cNvPr id="3" name="Title 2">
            <a:extLst>
              <a:ext uri="{FF2B5EF4-FFF2-40B4-BE49-F238E27FC236}">
                <a16:creationId xmlns:a16="http://schemas.microsoft.com/office/drawing/2014/main" id="{C2FBE238-FD47-4E20-986A-5C368B15A0EE}"/>
              </a:ext>
            </a:extLst>
          </p:cNvPr>
          <p:cNvSpPr>
            <a:spLocks noGrp="1"/>
          </p:cNvSpPr>
          <p:nvPr>
            <p:ph type="title"/>
          </p:nvPr>
        </p:nvSpPr>
        <p:spPr/>
        <p:txBody>
          <a:bodyPr lIns="0" tIns="45720" rIns="91440" bIns="45720" anchor="b"/>
          <a:lstStyle/>
          <a:p>
            <a:r>
              <a:rPr lang="en-US">
                <a:ea typeface="Verdana"/>
                <a:cs typeface="Verdana"/>
              </a:rPr>
              <a:t>Pourquoi utiliser Kubernetes ?</a:t>
            </a:r>
            <a:endParaRPr lang="en-US"/>
          </a:p>
        </p:txBody>
      </p:sp>
    </p:spTree>
    <p:extLst>
      <p:ext uri="{BB962C8B-B14F-4D97-AF65-F5344CB8AC3E}">
        <p14:creationId xmlns:p14="http://schemas.microsoft.com/office/powerpoint/2010/main" val="15525072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vert="horz" lIns="0" tIns="0" rIns="0" bIns="0" rtlCol="0" anchor="t">
            <a:noAutofit/>
          </a:bodyPr>
          <a:lstStyle/>
          <a:p>
            <a:r>
              <a:rPr lang="fr-FR">
                <a:ea typeface="+mj-lt"/>
                <a:cs typeface="+mj-lt"/>
              </a:rPr>
              <a:t>Il orchestre les micro-services sur les conteneurs:</a:t>
            </a:r>
            <a:endParaRPr lang="en-US">
              <a:ea typeface="Verdana"/>
              <a:cs typeface="Verdana"/>
            </a:endParaRPr>
          </a:p>
          <a:p>
            <a:pPr lvl="2"/>
            <a:r>
              <a:rPr lang="fr-FR">
                <a:ea typeface="+mj-lt"/>
                <a:cs typeface="+mj-lt"/>
              </a:rPr>
              <a:t>les ressources machines (</a:t>
            </a:r>
            <a:r>
              <a:rPr lang="fr-FR" err="1">
                <a:ea typeface="+mj-lt"/>
                <a:cs typeface="+mj-lt"/>
              </a:rPr>
              <a:t>computing</a:t>
            </a:r>
            <a:r>
              <a:rPr lang="fr-FR">
                <a:ea typeface="+mj-lt"/>
                <a:cs typeface="+mj-lt"/>
              </a:rPr>
              <a:t>), </a:t>
            </a:r>
            <a:endParaRPr lang="fr-FR">
              <a:ea typeface="Verdana"/>
              <a:cs typeface="Verdana"/>
            </a:endParaRPr>
          </a:p>
          <a:p>
            <a:pPr lvl="2"/>
            <a:r>
              <a:rPr lang="fr-FR">
                <a:ea typeface="+mj-lt"/>
                <a:cs typeface="+mj-lt"/>
              </a:rPr>
              <a:t>la mise en réseau,</a:t>
            </a:r>
            <a:endParaRPr lang="fr-FR">
              <a:ea typeface="Verdana"/>
              <a:cs typeface="Verdana"/>
            </a:endParaRPr>
          </a:p>
          <a:p>
            <a:pPr lvl="2"/>
            <a:r>
              <a:rPr lang="fr-FR">
                <a:ea typeface="+mj-lt"/>
                <a:cs typeface="+mj-lt"/>
              </a:rPr>
              <a:t>l’infrastructure de stockage</a:t>
            </a:r>
            <a:endParaRPr lang="en-US">
              <a:ea typeface="+mj-lt"/>
              <a:cs typeface="+mj-lt"/>
            </a:endParaRPr>
          </a:p>
          <a:p>
            <a:endParaRPr lang="en-GB">
              <a:ea typeface="Verdana"/>
              <a:cs typeface="Verdana"/>
            </a:endParaRPr>
          </a:p>
          <a:p>
            <a:endParaRPr lang="en-GB">
              <a:ea typeface="Verdana"/>
              <a:cs typeface="Verdana"/>
            </a:endParaRPr>
          </a:p>
          <a:p>
            <a:endParaRPr lang="en-GB">
              <a:ea typeface="+mj-lt"/>
              <a:cs typeface="+mj-lt"/>
            </a:endParaRPr>
          </a:p>
          <a:p>
            <a:pPr lvl="1">
              <a:buFont typeface="Wingdings" panose="020B0604020202020204" pitchFamily="34" charset="0"/>
              <a:buChar char="§"/>
            </a:pPr>
            <a:r>
              <a:rPr lang="en-GB">
                <a:ea typeface="+mj-lt"/>
                <a:cs typeface="+mj-lt"/>
              </a:rPr>
              <a:t>Automatise le cycle de vie </a:t>
            </a:r>
            <a:r>
              <a:rPr lang="en-GB" err="1">
                <a:ea typeface="+mj-lt"/>
                <a:cs typeface="+mj-lt"/>
              </a:rPr>
              <a:t>complet</a:t>
            </a:r>
            <a:r>
              <a:rPr lang="en-GB">
                <a:ea typeface="+mj-lt"/>
                <a:cs typeface="+mj-lt"/>
              </a:rPr>
              <a:t> des </a:t>
            </a:r>
            <a:r>
              <a:rPr lang="en-GB" err="1">
                <a:ea typeface="+mj-lt"/>
                <a:cs typeface="+mj-lt"/>
              </a:rPr>
              <a:t>conteneurs</a:t>
            </a:r>
            <a:r>
              <a:rPr lang="en-GB">
                <a:ea typeface="+mj-lt"/>
                <a:cs typeface="+mj-lt"/>
              </a:rPr>
              <a:t>: </a:t>
            </a:r>
          </a:p>
          <a:p>
            <a:pPr lvl="2"/>
            <a:r>
              <a:rPr lang="en-GB">
                <a:ea typeface="+mj-lt"/>
                <a:cs typeface="+mj-lt"/>
              </a:rPr>
              <a:t>du </a:t>
            </a:r>
            <a:r>
              <a:rPr lang="en-GB" err="1">
                <a:ea typeface="+mj-lt"/>
                <a:cs typeface="+mj-lt"/>
              </a:rPr>
              <a:t>déploiement</a:t>
            </a:r>
            <a:r>
              <a:rPr lang="en-GB">
                <a:ea typeface="+mj-lt"/>
                <a:cs typeface="+mj-lt"/>
              </a:rPr>
              <a:t> à la maintenance, </a:t>
            </a:r>
          </a:p>
          <a:p>
            <a:pPr lvl="2"/>
            <a:r>
              <a:rPr lang="en-GB">
                <a:ea typeface="+mj-lt"/>
                <a:cs typeface="+mj-lt"/>
              </a:rPr>
              <a:t>en passant par la </a:t>
            </a:r>
            <a:r>
              <a:rPr lang="en-GB" err="1">
                <a:ea typeface="+mj-lt"/>
                <a:cs typeface="+mj-lt"/>
              </a:rPr>
              <a:t>récupération</a:t>
            </a:r>
            <a:r>
              <a:rPr lang="en-GB">
                <a:ea typeface="+mj-lt"/>
                <a:cs typeface="+mj-lt"/>
              </a:rPr>
              <a:t> des </a:t>
            </a:r>
            <a:r>
              <a:rPr lang="en-GB" err="1">
                <a:ea typeface="+mj-lt"/>
                <a:cs typeface="+mj-lt"/>
              </a:rPr>
              <a:t>ressources</a:t>
            </a:r>
          </a:p>
          <a:p>
            <a:pPr lvl="2"/>
            <a:r>
              <a:rPr lang="en-GB" err="1">
                <a:ea typeface="+mj-lt"/>
                <a:cs typeface="+mj-lt"/>
              </a:rPr>
              <a:t>jusqu'à</a:t>
            </a:r>
            <a:r>
              <a:rPr lang="en-GB">
                <a:ea typeface="+mj-lt"/>
                <a:cs typeface="+mj-lt"/>
              </a:rPr>
              <a:t> la destruction </a:t>
            </a:r>
            <a:r>
              <a:rPr lang="en-GB" err="1">
                <a:ea typeface="+mj-lt"/>
                <a:cs typeface="+mj-lt"/>
              </a:rPr>
              <a:t>lorsqu'elles</a:t>
            </a:r>
            <a:r>
              <a:rPr lang="en-GB">
                <a:ea typeface="+mj-lt"/>
                <a:cs typeface="+mj-lt"/>
              </a:rPr>
              <a:t> ne </a:t>
            </a:r>
            <a:r>
              <a:rPr lang="en-GB" err="1">
                <a:ea typeface="+mj-lt"/>
                <a:cs typeface="+mj-lt"/>
              </a:rPr>
              <a:t>sont</a:t>
            </a:r>
            <a:r>
              <a:rPr lang="en-GB">
                <a:ea typeface="+mj-lt"/>
                <a:cs typeface="+mj-lt"/>
              </a:rPr>
              <a:t> plus </a:t>
            </a:r>
            <a:r>
              <a:rPr lang="en-GB" err="1">
                <a:ea typeface="+mj-lt"/>
                <a:cs typeface="+mj-lt"/>
              </a:rPr>
              <a:t>nécessaires</a:t>
            </a:r>
            <a:r>
              <a:rPr lang="en-GB">
                <a:ea typeface="+mj-lt"/>
                <a:cs typeface="+mj-lt"/>
              </a:rPr>
              <a:t>.</a:t>
            </a:r>
            <a:endParaRPr lang="en-GB">
              <a:ea typeface="Verdana"/>
              <a:cs typeface="Verdana"/>
            </a:endParaRPr>
          </a:p>
        </p:txBody>
      </p:sp>
      <p:sp>
        <p:nvSpPr>
          <p:cNvPr id="6" name="Text Placeholder 5"/>
          <p:cNvSpPr>
            <a:spLocks noGrp="1"/>
          </p:cNvSpPr>
          <p:nvPr>
            <p:ph type="body" sz="quarter" idx="12"/>
          </p:nvPr>
        </p:nvSpPr>
        <p:spPr/>
        <p:txBody>
          <a:bodyPr/>
          <a:lstStyle/>
          <a:p>
            <a:r>
              <a:rPr lang="en-GB"/>
              <a:t>Kubernetes </a:t>
            </a:r>
            <a:r>
              <a:rPr lang="en-GB" err="1"/>
              <a:t>est</a:t>
            </a:r>
            <a:r>
              <a:rPr lang="en-GB"/>
              <a:t> un orchestrateur</a:t>
            </a:r>
          </a:p>
        </p:txBody>
      </p:sp>
      <p:sp>
        <p:nvSpPr>
          <p:cNvPr id="4" name="Title 3"/>
          <p:cNvSpPr>
            <a:spLocks noGrp="1"/>
          </p:cNvSpPr>
          <p:nvPr>
            <p:ph type="title"/>
          </p:nvPr>
        </p:nvSpPr>
        <p:spPr/>
        <p:txBody>
          <a:bodyPr/>
          <a:lstStyle/>
          <a:p>
            <a:r>
              <a:rPr lang="en-US" err="1"/>
              <a:t>Qu’est-ce</a:t>
            </a:r>
            <a:r>
              <a:rPr lang="en-US"/>
              <a:t> que Kubernetes ?</a:t>
            </a:r>
            <a:endParaRPr lang="en-GB"/>
          </a:p>
        </p:txBody>
      </p:sp>
      <p:cxnSp>
        <p:nvCxnSpPr>
          <p:cNvPr id="14" name="Straight Connector 13"/>
          <p:cNvCxnSpPr/>
          <p:nvPr/>
        </p:nvCxnSpPr>
        <p:spPr>
          <a:xfrm>
            <a:off x="6021311"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pic>
        <p:nvPicPr>
          <p:cNvPr id="3" name="Image 2"/>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6888088" y="2205319"/>
            <a:ext cx="4996369" cy="2810458"/>
          </a:xfrm>
          <a:prstGeom prst="rect">
            <a:avLst/>
          </a:prstGeom>
        </p:spPr>
      </p:pic>
    </p:spTree>
    <p:extLst>
      <p:ext uri="{BB962C8B-B14F-4D97-AF65-F5344CB8AC3E}">
        <p14:creationId xmlns:p14="http://schemas.microsoft.com/office/powerpoint/2010/main" val="7646018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DE8F4A0B-9F16-4844-BE61-471FEF40F3D8}"/>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D5CD1066A7A294293CA351E50E78B7E" ma:contentTypeVersion="8" ma:contentTypeDescription="Create a new document." ma:contentTypeScope="" ma:versionID="b30e0c943d544f381a2d702c91f47000">
  <xsd:schema xmlns:xsd="http://www.w3.org/2001/XMLSchema" xmlns:xs="http://www.w3.org/2001/XMLSchema" xmlns:p="http://schemas.microsoft.com/office/2006/metadata/properties" xmlns:ns2="0f4e8b03-9da9-458b-80e8-e7c30d2bc5c6" targetNamespace="http://schemas.microsoft.com/office/2006/metadata/properties" ma:root="true" ma:fieldsID="886d62d0f535ab9bd876944b601b76b7" ns2:_="">
    <xsd:import namespace="0f4e8b03-9da9-458b-80e8-e7c30d2bc5c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4e8b03-9da9-458b-80e8-e7c30d2bc5c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8231C54-0CCF-453E-AE88-E47C4838E2F7}">
  <ds:schemaRef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0f4e8b03-9da9-458b-80e8-e7c30d2bc5c6"/>
    <ds:schemaRef ds:uri="http://purl.org/dc/terms/"/>
    <ds:schemaRef ds:uri="http://www.w3.org/XML/1998/namespace"/>
    <ds:schemaRef ds:uri="http://purl.org/dc/dcmitype/"/>
  </ds:schemaRefs>
</ds:datastoreItem>
</file>

<file path=customXml/itemProps2.xml><?xml version="1.0" encoding="utf-8"?>
<ds:datastoreItem xmlns:ds="http://schemas.openxmlformats.org/officeDocument/2006/customXml" ds:itemID="{99B7232B-E7FB-4DAF-A087-A4B91F6D27DC}">
  <ds:schemaRefs>
    <ds:schemaRef ds:uri="http://schemas.microsoft.com/sharepoint/v3/contenttype/forms"/>
  </ds:schemaRefs>
</ds:datastoreItem>
</file>

<file path=customXml/itemProps3.xml><?xml version="1.0" encoding="utf-8"?>
<ds:datastoreItem xmlns:ds="http://schemas.openxmlformats.org/officeDocument/2006/customXml" ds:itemID="{3444BD26-ABE4-433A-9CCB-B2B5AC31DB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f4e8b03-9da9-458b-80e8-e7c30d2bc5c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Template>
  <TotalTime>20</TotalTime>
  <Words>1382</Words>
  <Application>Microsoft Office PowerPoint</Application>
  <PresentationFormat>Grand écran</PresentationFormat>
  <Paragraphs>254</Paragraphs>
  <Slides>35</Slides>
  <Notes>7</Notes>
  <HiddenSlides>0</HiddenSlides>
  <MMClips>0</MMClips>
  <ScaleCrop>false</ScaleCrop>
  <HeadingPairs>
    <vt:vector size="4" baseType="variant">
      <vt:variant>
        <vt:lpstr>Thème</vt:lpstr>
      </vt:variant>
      <vt:variant>
        <vt:i4>4</vt:i4>
      </vt:variant>
      <vt:variant>
        <vt:lpstr>Titres des diapositives</vt:lpstr>
      </vt:variant>
      <vt:variant>
        <vt:i4>35</vt:i4>
      </vt:variant>
    </vt:vector>
  </HeadingPairs>
  <TitlesOfParts>
    <vt:vector size="39" baseType="lpstr">
      <vt:lpstr>Capgemini Master</vt:lpstr>
      <vt:lpstr>Section break</vt:lpstr>
      <vt:lpstr>Cover options</vt:lpstr>
      <vt:lpstr>Thème Office</vt:lpstr>
      <vt:lpstr>Introduction à Kubernetes </vt:lpstr>
      <vt:lpstr>Qu'est-ce que les containers et les architectures micro-services ?</vt:lpstr>
      <vt:lpstr>Présentation PowerPoint</vt:lpstr>
      <vt:lpstr>Microservices vs Monolith</vt:lpstr>
      <vt:lpstr>Comparaison d'une application en monolithe et Microservices</vt:lpstr>
      <vt:lpstr>Présentation PowerPoint</vt:lpstr>
      <vt:lpstr>Présentation PowerPoint</vt:lpstr>
      <vt:lpstr>Pourquoi utiliser Kubernetes ?</vt:lpstr>
      <vt:lpstr>Qu’est-ce que Kubernetes ?</vt:lpstr>
      <vt:lpstr>Orchestration</vt:lpstr>
      <vt:lpstr>Principales fonctionnalités</vt:lpstr>
      <vt:lpstr>L'univers K8S</vt:lpstr>
      <vt:lpstr>The Control-plane and Kubernetes objects</vt:lpstr>
      <vt:lpstr>Kubernetes objects</vt:lpstr>
      <vt:lpstr>Declarative Management of Kubernetes Objects </vt:lpstr>
      <vt:lpstr>Quel est l'avantage ?</vt:lpstr>
      <vt:lpstr>Quel composant du control-plane encapsule les commandes impératives ?</vt:lpstr>
      <vt:lpstr>Bonne pratique: git</vt:lpstr>
      <vt:lpstr>Où sont stockés les objets ?</vt:lpstr>
      <vt:lpstr>Présentation PowerPoint</vt:lpstr>
      <vt:lpstr>Les objets sont composés de deux éléments </vt:lpstr>
      <vt:lpstr>Exemple : Déclaration de 3 pods</vt:lpstr>
      <vt:lpstr>Les composants de Kubernetes</vt:lpstr>
      <vt:lpstr>Les composants de bases</vt:lpstr>
      <vt:lpstr>Présentation PowerPoint</vt:lpstr>
      <vt:lpstr>Questions</vt:lpstr>
      <vt:lpstr>Concepts clefs de K8S</vt:lpstr>
      <vt:lpstr>Worker Node</vt:lpstr>
      <vt:lpstr>Pod</vt:lpstr>
      <vt:lpstr>Deployment </vt:lpstr>
      <vt:lpstr>Présentation PowerPoint</vt:lpstr>
      <vt:lpstr>Service Concepts</vt:lpstr>
      <vt:lpstr>Présentation PowerPoint</vt:lpstr>
      <vt:lpstr>Les services savent quels pods doivent être équilibrés de charge à l'aide d'étiquettes (labels)</vt:lpstr>
      <vt:lpstr>Présentation PowerPoi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subject>ppt template</dc:subject>
  <dc:creator>DEQUIDT, Gauthier</dc:creator>
  <cp:lastModifiedBy>DEQUIDT, Gauthier</cp:lastModifiedBy>
  <cp:revision>566</cp:revision>
  <dcterms:created xsi:type="dcterms:W3CDTF">2020-09-02T13:40:31Z</dcterms:created>
  <dcterms:modified xsi:type="dcterms:W3CDTF">2020-09-24T08:45: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D5CD1066A7A294293CA351E50E78B7E</vt:lpwstr>
  </property>
</Properties>
</file>